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258" r:id="rId3"/>
    <p:sldId id="260" r:id="rId4"/>
    <p:sldId id="261" r:id="rId5"/>
    <p:sldId id="265" r:id="rId6"/>
    <p:sldId id="259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0" d="100"/>
          <a:sy n="70" d="100"/>
        </p:scale>
        <p:origin x="66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D6F4A9-5F9A-4ABE-8200-3969709B1D32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CC74F8-4918-44E7-AE5E-0193D17BBF42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865180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69376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4FAA9-51FA-4F6B-AC6F-9EF5239E7D33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46542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88AE4-D571-4A25-A333-E63CEC7537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017D7E-10AD-46B4-8157-F876693377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449DF-1079-4339-BD40-8D6303D6F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580B9D-907B-4DE4-BEEE-42D4EE07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C044AA-C9B1-425D-848A-6DFAF7BD8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357747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02B73-BC37-4D36-8D96-4DC1D49F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02BC6A-120C-42AB-9AF2-376F9F170D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64D33-4308-4CEE-A5FD-A65F96262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0BFB77-6083-49B9-B56D-C04F2320B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91E7D-16B1-4559-BCFC-37CB9AEA3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181385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2D5AF5A-3868-42A9-AC5D-FC541ED465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11842E-4CFA-42B1-AD3A-5FE13783CB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F10F-4AC5-4A1D-A6F6-2316888E4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51FBDA-217E-4D81-98E8-81E7FD741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0F321-86FA-4116-84F6-AFC7E0E0A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059282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6" t="9657" r="21398" b="22705"/>
          <a:stretch/>
        </p:blipFill>
        <p:spPr bwMode="auto">
          <a:xfrm>
            <a:off x="-3475" y="0"/>
            <a:ext cx="1219869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hape 3885"/>
          <p:cNvSpPr/>
          <p:nvPr userDrawn="1"/>
        </p:nvSpPr>
        <p:spPr>
          <a:xfrm flipV="1">
            <a:off x="0" y="0"/>
            <a:ext cx="7365513" cy="6858000"/>
          </a:xfrm>
          <a:custGeom>
            <a:avLst/>
            <a:gdLst>
              <a:gd name="connsiteX0" fmla="*/ 21633 w 21633"/>
              <a:gd name="connsiteY0" fmla="*/ 14 h 21600"/>
              <a:gd name="connsiteX1" fmla="*/ 14289 w 21633"/>
              <a:gd name="connsiteY1" fmla="*/ 21600 h 21600"/>
              <a:gd name="connsiteX2" fmla="*/ 0 w 21633"/>
              <a:gd name="connsiteY2" fmla="*/ 21600 h 21600"/>
              <a:gd name="connsiteX3" fmla="*/ 100 w 21633"/>
              <a:gd name="connsiteY3" fmla="*/ 0 h 21600"/>
              <a:gd name="connsiteX4" fmla="*/ 21633 w 21633"/>
              <a:gd name="connsiteY4" fmla="*/ 14 h 21600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1705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47 w 21647"/>
              <a:gd name="connsiteY0" fmla="*/ 0 h 21586"/>
              <a:gd name="connsiteX1" fmla="*/ 14303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708 w 21708"/>
              <a:gd name="connsiteY0" fmla="*/ 0 h 21586"/>
              <a:gd name="connsiteX1" fmla="*/ 14364 w 21708"/>
              <a:gd name="connsiteY1" fmla="*/ 21586 h 21586"/>
              <a:gd name="connsiteX2" fmla="*/ 0 w 21708"/>
              <a:gd name="connsiteY2" fmla="*/ 21171 h 21586"/>
              <a:gd name="connsiteX3" fmla="*/ 69 w 21708"/>
              <a:gd name="connsiteY3" fmla="*/ 26 h 21586"/>
              <a:gd name="connsiteX4" fmla="*/ 21708 w 21708"/>
              <a:gd name="connsiteY4" fmla="*/ 0 h 21586"/>
              <a:gd name="connsiteX0" fmla="*/ 21708 w 21708"/>
              <a:gd name="connsiteY0" fmla="*/ 0 h 21171"/>
              <a:gd name="connsiteX1" fmla="*/ 14476 w 21708"/>
              <a:gd name="connsiteY1" fmla="*/ 21134 h 21171"/>
              <a:gd name="connsiteX2" fmla="*/ 0 w 21708"/>
              <a:gd name="connsiteY2" fmla="*/ 21171 h 21171"/>
              <a:gd name="connsiteX3" fmla="*/ 69 w 21708"/>
              <a:gd name="connsiteY3" fmla="*/ 26 h 21171"/>
              <a:gd name="connsiteX4" fmla="*/ 21708 w 21708"/>
              <a:gd name="connsiteY4" fmla="*/ 0 h 21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08" h="21171" extrusionOk="0">
                <a:moveTo>
                  <a:pt x="21708" y="0"/>
                </a:moveTo>
                <a:lnTo>
                  <a:pt x="14476" y="21134"/>
                </a:lnTo>
                <a:lnTo>
                  <a:pt x="0" y="21171"/>
                </a:lnTo>
                <a:cubicBezTo>
                  <a:pt x="33" y="13971"/>
                  <a:pt x="36" y="7226"/>
                  <a:pt x="69" y="26"/>
                </a:cubicBezTo>
                <a:lnTo>
                  <a:pt x="21708" y="0"/>
                </a:lnTo>
                <a:close/>
              </a:path>
            </a:pathLst>
          </a:custGeom>
          <a:solidFill>
            <a:srgbClr val="001236">
              <a:alpha val="60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148"/>
            <a:endParaRPr dirty="0"/>
          </a:p>
        </p:txBody>
      </p:sp>
      <p:grpSp>
        <p:nvGrpSpPr>
          <p:cNvPr id="13" name="Group 12"/>
          <p:cNvGrpSpPr>
            <a:grpSpLocks noChangeAspect="1"/>
          </p:cNvGrpSpPr>
          <p:nvPr userDrawn="1"/>
        </p:nvGrpSpPr>
        <p:grpSpPr>
          <a:xfrm>
            <a:off x="8097048" y="4207088"/>
            <a:ext cx="3132348" cy="1931630"/>
            <a:chOff x="9912424" y="5310331"/>
            <a:chExt cx="2082398" cy="1284156"/>
          </a:xfrm>
        </p:grpSpPr>
        <p:sp>
          <p:nvSpPr>
            <p:cNvPr id="14" name="Freeform 8"/>
            <p:cNvSpPr/>
            <p:nvPr/>
          </p:nvSpPr>
          <p:spPr>
            <a:xfrm>
              <a:off x="10225751" y="5310331"/>
              <a:ext cx="1363936" cy="1284156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16" name="Picture 10"/>
            <p:cNvPicPr>
              <a:picLocks noChangeAspect="1"/>
            </p:cNvPicPr>
            <p:nvPr/>
          </p:nvPicPr>
          <p:blipFill>
            <a:blip r:embed="rId7" cstate="email">
              <a:lum bright="100000" contras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2424" y="5834011"/>
              <a:ext cx="2082398" cy="157057"/>
            </a:xfrm>
            <a:prstGeom prst="rect">
              <a:avLst/>
            </a:prstGeom>
            <a:ln/>
          </p:spPr>
        </p:pic>
      </p:grpSp>
      <p:pic>
        <p:nvPicPr>
          <p:cNvPr id="23" name="Picture 2" descr="C:\Users\dariusz.razniewski\Desktop\Acc_Strategy_GP_Lockup\Acc_Strategy_GP_Lockup_Wht_RGB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735"/>
          <a:stretch/>
        </p:blipFill>
        <p:spPr bwMode="auto">
          <a:xfrm>
            <a:off x="868907" y="5523004"/>
            <a:ext cx="2398730" cy="81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2280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7E1E2-CA57-4BFA-9CB2-C1836D488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050BD5-A496-4B63-B443-993FB9926A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EAF3AC-F3F1-41B3-8E77-C321C2FD75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0C0560-0F43-45B5-87D7-B30A2F2AB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D728E5-0287-4351-9431-F5109E20D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945463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BA2A3-AA0C-4EA0-BC3F-222E249AF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2060A1-3059-4EA7-824F-BBA33E5355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DD32E9-2FA4-43CE-A4B6-1FCCABE22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1D8FDC-668D-4BF8-8F44-1D91B581B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B0082-89B4-42D2-B3CC-C371F5C0D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49326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F1833-C749-4D1C-8A49-F0B88C244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2BBC50-0CFE-491D-96F6-BF11BEC812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900E5F-FB32-41DF-A046-A46B7D32D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E36E01-F95E-4D84-9A7B-7D77EB4B7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B72FAD-2BCB-4E3D-8DD3-92819D08AA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F8B219-0B4A-43E6-A5BF-05703C379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4930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71625-F479-45EE-A41D-F575EC58F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A3F48A-E324-4E1B-86F5-6D7C5384B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5CD356-0CA4-4743-AA04-B0605234B4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43382E-A286-4D63-BD03-7E7B0C87B3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E52029-D27F-4114-A610-251FD3ABCF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75A343-F792-41AD-A639-2C2675303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C226EC-DC73-4268-8F9A-DF730DCBF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F6B84E-DEF2-48A7-BB39-24DA8776B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1325198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E3471-D503-442F-A00D-33947BF26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964321-F081-489D-9657-A165B01EB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54D1CB-57D4-4693-BEC9-BD364DBB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E49E94-27F6-431F-A35A-A5C4E551D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334076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A6390A-EDB7-4369-8D42-1743D93FF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66458F-D6D3-4A89-A964-B41C7578B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89083-BBF5-4F93-A2F4-ECB8B6A48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694495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D3837-0756-4383-AF27-E9CEF3DFF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7E543-CADA-49A5-B6A5-D025D05A7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AF9E8D-A154-4E7E-A928-88057D15B0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C6F1C8-7F3A-4238-85DD-442872DDC1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0A5736-11FD-4383-BB68-8C2A0E984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137FA9-3A8A-432F-A7FB-1672C1E1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790777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B6F84-CC47-4ED4-8B72-D0888200D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98980A-E2B5-48CD-BB1F-552FCB77C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D28FB7-B98D-4F3B-BB2A-C1C029D340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D739A9-4ADC-4531-9D5A-6053E3AFB4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EBD04F-CEE8-4ACA-90DE-064DC79FF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3A093C-552F-4CF7-A7C4-F79DD2E16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292007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E501CA8-CC19-49E0-95FE-334600634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BAD94-7274-4D97-B0E6-06F0432755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6F6C06-C946-4C3C-B02C-369712CD0B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43F55A-0107-47D6-A834-2FC21BF6BA57}" type="datetimeFigureOut">
              <a:rPr lang="en-MY" smtClean="0"/>
              <a:t>14/12/2017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58D15-0BD7-43EF-B315-C5882C1C85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B1AA68-E045-4B59-8C43-C51EF26D0C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4C28B7-8D21-4550-83BA-DB2284FA4443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64621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hedrum.com/news/2016/05/17/accenture-creates-artificially-intelligent-agent-amelia-inspire-firms-embrace" TargetMode="External"/><Relationship Id="rId2" Type="http://schemas.openxmlformats.org/officeDocument/2006/relationships/hyperlink" Target="https://www.accenture.com/us-en/success-avianca-airlines-new-chatbot-reducing-travel-stress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youtube.com/watch?v=rH_B9LGSUcU" TargetMode="External"/><Relationship Id="rId5" Type="http://schemas.openxmlformats.org/officeDocument/2006/relationships/hyperlink" Target="https://www.accenture.com/no-en/_acnmedia/PDF-42/Accenture-CSB01344-BBC-Security-Credential.pdf" TargetMode="External"/><Relationship Id="rId4" Type="http://schemas.openxmlformats.org/officeDocument/2006/relationships/hyperlink" Target="https://innovation-awards.nl/innovation/the-most-human-recruitment-chatbot-solution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26752" y="2126144"/>
            <a:ext cx="6807358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+mj-lt"/>
              </a:rPr>
              <a:t>A.I.D.A</a:t>
            </a:r>
          </a:p>
          <a:p>
            <a:endParaRPr lang="en-US" sz="2800" dirty="0">
              <a:solidFill>
                <a:schemeClr val="bg1"/>
              </a:solidFill>
              <a:latin typeface="+mj-lt"/>
            </a:endParaRPr>
          </a:p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Artificially Intelligent Digital Agent</a:t>
            </a:r>
          </a:p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TNB Chatbot Hackathon</a:t>
            </a:r>
          </a:p>
          <a:p>
            <a:endParaRPr lang="en-US" sz="2800" dirty="0">
              <a:solidFill>
                <a:schemeClr val="bg1"/>
              </a:solidFill>
              <a:latin typeface="+mj-lt"/>
            </a:endParaRPr>
          </a:p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15th Dec 2017</a:t>
            </a:r>
          </a:p>
        </p:txBody>
      </p:sp>
      <p:pic>
        <p:nvPicPr>
          <p:cNvPr id="4" name="Picture 140" descr="Image result for Tenag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432" y="506647"/>
            <a:ext cx="3599999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6481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Details – 4. AI Abilit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2261748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42950" indent="-742950">
              <a:buAutoNum type="arabicPeriod"/>
            </a:pPr>
            <a:r>
              <a:rPr lang="en-MY" dirty="0"/>
              <a:t>It’s Contextual with Machine Learning</a:t>
            </a:r>
          </a:p>
          <a:p>
            <a:pPr marL="742950" indent="-742950">
              <a:buAutoNum type="arabicPeriod"/>
            </a:pPr>
            <a:r>
              <a:rPr lang="en-MY" dirty="0"/>
              <a:t>It’s Personal</a:t>
            </a:r>
          </a:p>
          <a:p>
            <a:pPr marL="742950" indent="-742950">
              <a:buAutoNum type="arabicPeriod"/>
            </a:pPr>
            <a:r>
              <a:rPr lang="en-MY" dirty="0"/>
              <a:t>Voice Recognition</a:t>
            </a:r>
          </a:p>
          <a:p>
            <a:pPr marL="742950" indent="-742950">
              <a:buAutoNum type="arabicPeriod"/>
            </a:pPr>
            <a:r>
              <a:rPr lang="en-MY" dirty="0"/>
              <a:t>Image Recognition</a:t>
            </a:r>
          </a:p>
          <a:p>
            <a:pPr marL="742950" indent="-742950">
              <a:buAutoNum type="arabicPeriod"/>
            </a:pPr>
            <a:r>
              <a:rPr lang="en-MY" dirty="0"/>
              <a:t>Sentiment Analysis</a:t>
            </a:r>
          </a:p>
        </p:txBody>
      </p:sp>
    </p:spTree>
    <p:extLst>
      <p:ext uri="{BB962C8B-B14F-4D97-AF65-F5344CB8AC3E}">
        <p14:creationId xmlns:p14="http://schemas.microsoft.com/office/powerpoint/2010/main" val="3430923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Details – 5. Languag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2261748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42950" indent="-742950">
              <a:buAutoNum type="arabicPeriod"/>
            </a:pPr>
            <a:r>
              <a:rPr lang="en-MY" dirty="0"/>
              <a:t>English		(Speech + Voice)</a:t>
            </a:r>
          </a:p>
          <a:p>
            <a:pPr marL="742950" indent="-742950">
              <a:buAutoNum type="arabicPeriod"/>
            </a:pPr>
            <a:r>
              <a:rPr lang="en-MY" dirty="0"/>
              <a:t>Malay		(Speech Only)</a:t>
            </a:r>
          </a:p>
          <a:p>
            <a:pPr marL="742950" indent="-742950">
              <a:buAutoNum type="arabicPeriod"/>
            </a:pPr>
            <a:r>
              <a:rPr lang="en-MY" dirty="0"/>
              <a:t>Mandarin	(Speech + Voice)</a:t>
            </a:r>
          </a:p>
          <a:p>
            <a:pPr marL="742950" indent="-742950">
              <a:buAutoNum type="arabicPeriod"/>
            </a:pPr>
            <a:r>
              <a:rPr lang="en-MY" dirty="0"/>
              <a:t>Tamil 		(Speech Only)</a:t>
            </a:r>
          </a:p>
          <a:p>
            <a:pPr marL="742950" indent="-742950">
              <a:buAutoNum type="arabicPeriod"/>
            </a:pPr>
            <a:r>
              <a:rPr lang="en-MY" dirty="0"/>
              <a:t>1337 Checking</a:t>
            </a:r>
          </a:p>
        </p:txBody>
      </p:sp>
    </p:spTree>
    <p:extLst>
      <p:ext uri="{BB962C8B-B14F-4D97-AF65-F5344CB8AC3E}">
        <p14:creationId xmlns:p14="http://schemas.microsoft.com/office/powerpoint/2010/main" val="1789366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Details – 6. Train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2261748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It’s Straight Forward to Train to Some extent</a:t>
            </a:r>
          </a:p>
          <a:p>
            <a:endParaRPr lang="en-MY" dirty="0"/>
          </a:p>
          <a:p>
            <a:pPr marL="742950" indent="-742950">
              <a:buAutoNum type="arabicPeriod"/>
            </a:pPr>
            <a:r>
              <a:rPr lang="en-MY" dirty="0"/>
              <a:t>Rule Based – No Skills Required</a:t>
            </a:r>
          </a:p>
          <a:p>
            <a:pPr marL="742950" indent="-742950">
              <a:buAutoNum type="arabicPeriod"/>
            </a:pPr>
            <a:r>
              <a:rPr lang="en-MY" dirty="0"/>
              <a:t>Mass Upload</a:t>
            </a:r>
          </a:p>
          <a:p>
            <a:pPr marL="742950" indent="-742950">
              <a:buAutoNum type="arabicPeriod"/>
            </a:pPr>
            <a:r>
              <a:rPr lang="en-MY" dirty="0"/>
              <a:t>User flows – Some skills required</a:t>
            </a:r>
          </a:p>
          <a:p>
            <a:pPr marL="742950" indent="-742950">
              <a:buAutoNum type="arabicPeriod"/>
            </a:pPr>
            <a:r>
              <a:rPr lang="en-MY" dirty="0"/>
              <a:t>Self-Learning – Tells you gaps</a:t>
            </a:r>
          </a:p>
        </p:txBody>
      </p:sp>
    </p:spTree>
    <p:extLst>
      <p:ext uri="{BB962C8B-B14F-4D97-AF65-F5344CB8AC3E}">
        <p14:creationId xmlns:p14="http://schemas.microsoft.com/office/powerpoint/2010/main" val="38437202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Credentials in Chatbo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1598966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42950" indent="-742950">
              <a:buAutoNum type="arabicPeriod"/>
            </a:pPr>
            <a:r>
              <a:rPr lang="en-MY" sz="2400" dirty="0"/>
              <a:t>Avianca Airlines Chatbot</a:t>
            </a:r>
            <a:br>
              <a:rPr lang="en-MY" sz="2400" dirty="0"/>
            </a:br>
            <a:r>
              <a:rPr lang="en-MY" sz="2400" dirty="0">
                <a:hlinkClick r:id="rId2"/>
              </a:rPr>
              <a:t>https://www.accenture.com/us-en/success-avianca-airlines-new-chatbot-reducing-travel-stress</a:t>
            </a:r>
            <a:endParaRPr lang="en-MY" sz="2400" dirty="0"/>
          </a:p>
          <a:p>
            <a:pPr marL="742950" indent="-742950">
              <a:buAutoNum type="arabicPeriod"/>
            </a:pPr>
            <a:r>
              <a:rPr lang="en-MY" sz="2400" dirty="0"/>
              <a:t>Accenture Amelia</a:t>
            </a:r>
            <a:br>
              <a:rPr lang="en-MY" sz="2400" dirty="0"/>
            </a:br>
            <a:r>
              <a:rPr lang="en-MY" sz="2400" dirty="0">
                <a:hlinkClick r:id="rId3"/>
              </a:rPr>
              <a:t>http://www.thedrum.com/news/2016/05/17/accenture-creates-artificially-intelligent-agent-amelia-inspire-firms-embrace</a:t>
            </a:r>
            <a:endParaRPr lang="en-MY" sz="2400" dirty="0"/>
          </a:p>
          <a:p>
            <a:pPr marL="742950" indent="-742950">
              <a:buAutoNum type="arabicPeriod"/>
            </a:pPr>
            <a:r>
              <a:rPr lang="en-MY" sz="2400" dirty="0" err="1"/>
              <a:t>Applyr</a:t>
            </a:r>
            <a:br>
              <a:rPr lang="en-MY" sz="2400" dirty="0"/>
            </a:br>
            <a:r>
              <a:rPr lang="en-MY" sz="2400" dirty="0">
                <a:hlinkClick r:id="rId4"/>
              </a:rPr>
              <a:t>https://innovation-awards.nl/innovation/the-most-human-recruitment-chatbot-solution/</a:t>
            </a:r>
            <a:endParaRPr lang="en-MY" sz="2400" dirty="0"/>
          </a:p>
          <a:p>
            <a:pPr marL="742950" indent="-742950">
              <a:buAutoNum type="arabicPeriod"/>
            </a:pPr>
            <a:r>
              <a:rPr lang="en-MY" sz="2400" dirty="0"/>
              <a:t>BBC</a:t>
            </a:r>
            <a:br>
              <a:rPr lang="en-MY" sz="2400" dirty="0"/>
            </a:br>
            <a:r>
              <a:rPr lang="en-MY" sz="2400" dirty="0">
                <a:hlinkClick r:id="rId5"/>
              </a:rPr>
              <a:t>https://www.accenture.com/no-en/_acnmedia/PDF-42/Accenture-CSB01344-BBC-Security-Credential.pdf</a:t>
            </a:r>
            <a:endParaRPr lang="en-MY" sz="2400" dirty="0"/>
          </a:p>
          <a:p>
            <a:pPr marL="742950" indent="-742950">
              <a:buAutoNum type="arabicPeriod"/>
            </a:pPr>
            <a:r>
              <a:rPr lang="en-MY" sz="2400" dirty="0"/>
              <a:t>South by Southwest Film Festival 2017</a:t>
            </a:r>
            <a:br>
              <a:rPr lang="en-MY" sz="2400" dirty="0"/>
            </a:br>
            <a:r>
              <a:rPr lang="en-MY" sz="2400" dirty="0">
                <a:hlinkClick r:id="rId6"/>
              </a:rPr>
              <a:t>https://www.youtube.com/watch?v=rH_B9LGSUcU</a:t>
            </a:r>
            <a:endParaRPr lang="en-MY" sz="2400" dirty="0"/>
          </a:p>
        </p:txBody>
      </p:sp>
    </p:spTree>
    <p:extLst>
      <p:ext uri="{BB962C8B-B14F-4D97-AF65-F5344CB8AC3E}">
        <p14:creationId xmlns:p14="http://schemas.microsoft.com/office/powerpoint/2010/main" val="3837739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26752" y="3217965"/>
            <a:ext cx="6807358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+mj-lt"/>
              </a:rPr>
              <a:t>Thank you</a:t>
            </a:r>
            <a:endParaRPr lang="en-US" sz="2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Picture 140" descr="Image result for Tenag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432" y="506647"/>
            <a:ext cx="3599999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8940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7C381-577E-46E5-8A31-E7BDB47A1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MY" dirty="0"/>
              <a:t>Cont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9F504E-2263-49C9-B57D-9608CABEC8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3877808"/>
          </a:xfrm>
        </p:spPr>
        <p:txBody>
          <a:bodyPr anchor="t"/>
          <a:lstStyle/>
          <a:p>
            <a:pPr marL="457200" indent="-457200">
              <a:buAutoNum type="arabicPeriod"/>
            </a:pPr>
            <a:r>
              <a:rPr lang="en-MY" dirty="0"/>
              <a:t>About the Speaker</a:t>
            </a:r>
          </a:p>
          <a:p>
            <a:pPr marL="457200" indent="-457200">
              <a:buAutoNum type="arabicPeriod"/>
            </a:pPr>
            <a:r>
              <a:rPr lang="en-MY" dirty="0"/>
              <a:t>Problem Statement</a:t>
            </a:r>
          </a:p>
          <a:p>
            <a:pPr marL="457200" indent="-457200">
              <a:buAutoNum type="arabicPeriod"/>
            </a:pPr>
            <a:r>
              <a:rPr lang="en-MY" dirty="0"/>
              <a:t>Solution Demo</a:t>
            </a:r>
          </a:p>
          <a:p>
            <a:pPr marL="457200" indent="-457200">
              <a:buAutoNum type="arabicPeriod"/>
            </a:pPr>
            <a:endParaRPr lang="en-MY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4BC0D74-643F-4726-B7ED-4AC8CB817492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093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458ACD0-BCAE-45CB-9401-3CE477AF3274}"/>
              </a:ext>
            </a:extLst>
          </p:cNvPr>
          <p:cNvCxnSpPr>
            <a:cxnSpLocks/>
          </p:cNvCxnSpPr>
          <p:nvPr/>
        </p:nvCxnSpPr>
        <p:spPr>
          <a:xfrm>
            <a:off x="3279348" y="6142810"/>
            <a:ext cx="205652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BD1063A2-7BCE-4690-B0E1-EC35BBD9F0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758" y="2325401"/>
            <a:ext cx="3845335" cy="384533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3" name="Freeform 314">
            <a:extLst>
              <a:ext uri="{FF2B5EF4-FFF2-40B4-BE49-F238E27FC236}">
                <a16:creationId xmlns:a16="http://schemas.microsoft.com/office/drawing/2014/main" id="{737A39A1-1C36-4184-89D2-BB8925E89FF1}"/>
              </a:ext>
            </a:extLst>
          </p:cNvPr>
          <p:cNvSpPr>
            <a:spLocks/>
          </p:cNvSpPr>
          <p:nvPr/>
        </p:nvSpPr>
        <p:spPr bwMode="auto">
          <a:xfrm>
            <a:off x="2230367" y="4942480"/>
            <a:ext cx="1472810" cy="1605061"/>
          </a:xfrm>
          <a:custGeom>
            <a:avLst/>
            <a:gdLst>
              <a:gd name="T0" fmla="*/ 0 w 310"/>
              <a:gd name="T1" fmla="*/ 28 h 338"/>
              <a:gd name="T2" fmla="*/ 1 w 310"/>
              <a:gd name="T3" fmla="*/ 328 h 338"/>
              <a:gd name="T4" fmla="*/ 310 w 310"/>
              <a:gd name="T5" fmla="*/ 215 h 338"/>
              <a:gd name="T6" fmla="*/ 273 w 310"/>
              <a:gd name="T7" fmla="*/ 96 h 338"/>
              <a:gd name="T8" fmla="*/ 175 w 310"/>
              <a:gd name="T9" fmla="*/ 20 h 338"/>
              <a:gd name="T10" fmla="*/ 105 w 310"/>
              <a:gd name="T11" fmla="*/ 0 h 338"/>
              <a:gd name="T12" fmla="*/ 0 w 310"/>
              <a:gd name="T13" fmla="*/ 2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0" h="338">
                <a:moveTo>
                  <a:pt x="0" y="28"/>
                </a:moveTo>
                <a:cubicBezTo>
                  <a:pt x="1" y="328"/>
                  <a:pt x="1" y="328"/>
                  <a:pt x="1" y="328"/>
                </a:cubicBezTo>
                <a:cubicBezTo>
                  <a:pt x="1" y="328"/>
                  <a:pt x="174" y="338"/>
                  <a:pt x="310" y="215"/>
                </a:cubicBezTo>
                <a:cubicBezTo>
                  <a:pt x="273" y="96"/>
                  <a:pt x="273" y="96"/>
                  <a:pt x="273" y="96"/>
                </a:cubicBezTo>
                <a:cubicBezTo>
                  <a:pt x="175" y="20"/>
                  <a:pt x="175" y="20"/>
                  <a:pt x="175" y="20"/>
                </a:cubicBezTo>
                <a:cubicBezTo>
                  <a:pt x="105" y="0"/>
                  <a:pt x="105" y="0"/>
                  <a:pt x="105" y="0"/>
                </a:cubicBezTo>
                <a:lnTo>
                  <a:pt x="0" y="28"/>
                </a:lnTo>
                <a:close/>
              </a:path>
            </a:pathLst>
          </a:custGeom>
          <a:solidFill>
            <a:srgbClr val="AAAAAA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9B8F653-448A-42CF-B8C2-35290EFF3764}"/>
              </a:ext>
            </a:extLst>
          </p:cNvPr>
          <p:cNvCxnSpPr/>
          <p:nvPr/>
        </p:nvCxnSpPr>
        <p:spPr>
          <a:xfrm flipV="1">
            <a:off x="2763587" y="2102828"/>
            <a:ext cx="2564009" cy="1"/>
          </a:xfrm>
          <a:prstGeom prst="line">
            <a:avLst/>
          </a:prstGeom>
          <a:ln>
            <a:solidFill>
              <a:srgbClr val="C0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980117-1D4B-4BB2-9A2B-BE43BE55257A}"/>
              </a:ext>
            </a:extLst>
          </p:cNvPr>
          <p:cNvCxnSpPr/>
          <p:nvPr/>
        </p:nvCxnSpPr>
        <p:spPr>
          <a:xfrm>
            <a:off x="4259897" y="4653924"/>
            <a:ext cx="1067699" cy="1"/>
          </a:xfrm>
          <a:prstGeom prst="line">
            <a:avLst/>
          </a:prstGeom>
          <a:ln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5D470D2-25F5-4FF0-9187-86200CEB9B22}"/>
              </a:ext>
            </a:extLst>
          </p:cNvPr>
          <p:cNvCxnSpPr/>
          <p:nvPr/>
        </p:nvCxnSpPr>
        <p:spPr>
          <a:xfrm>
            <a:off x="4316640" y="3272288"/>
            <a:ext cx="1010956" cy="1"/>
          </a:xfrm>
          <a:prstGeom prst="line">
            <a:avLst/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315">
            <a:extLst>
              <a:ext uri="{FF2B5EF4-FFF2-40B4-BE49-F238E27FC236}">
                <a16:creationId xmlns:a16="http://schemas.microsoft.com/office/drawing/2014/main" id="{6BF8291B-395E-4759-8441-967FCC0EA427}"/>
              </a:ext>
            </a:extLst>
          </p:cNvPr>
          <p:cNvSpPr>
            <a:spLocks/>
          </p:cNvSpPr>
          <p:nvPr/>
        </p:nvSpPr>
        <p:spPr bwMode="auto">
          <a:xfrm>
            <a:off x="2728295" y="4257085"/>
            <a:ext cx="1889605" cy="1851531"/>
          </a:xfrm>
          <a:custGeom>
            <a:avLst/>
            <a:gdLst>
              <a:gd name="T0" fmla="*/ 231 w 398"/>
              <a:gd name="T1" fmla="*/ 390 h 390"/>
              <a:gd name="T2" fmla="*/ 0 w 398"/>
              <a:gd name="T3" fmla="*/ 148 h 390"/>
              <a:gd name="T4" fmla="*/ 80 w 398"/>
              <a:gd name="T5" fmla="*/ 28 h 390"/>
              <a:gd name="T6" fmla="*/ 398 w 398"/>
              <a:gd name="T7" fmla="*/ 0 h 390"/>
              <a:gd name="T8" fmla="*/ 396 w 398"/>
              <a:gd name="T9" fmla="*/ 27 h 390"/>
              <a:gd name="T10" fmla="*/ 231 w 398"/>
              <a:gd name="T11" fmla="*/ 390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8" h="390">
                <a:moveTo>
                  <a:pt x="231" y="390"/>
                </a:moveTo>
                <a:cubicBezTo>
                  <a:pt x="0" y="148"/>
                  <a:pt x="0" y="148"/>
                  <a:pt x="0" y="148"/>
                </a:cubicBezTo>
                <a:cubicBezTo>
                  <a:pt x="80" y="28"/>
                  <a:pt x="80" y="28"/>
                  <a:pt x="80" y="28"/>
                </a:cubicBezTo>
                <a:cubicBezTo>
                  <a:pt x="398" y="0"/>
                  <a:pt x="398" y="0"/>
                  <a:pt x="398" y="0"/>
                </a:cubicBezTo>
                <a:cubicBezTo>
                  <a:pt x="396" y="27"/>
                  <a:pt x="396" y="27"/>
                  <a:pt x="396" y="27"/>
                </a:cubicBezTo>
                <a:cubicBezTo>
                  <a:pt x="396" y="27"/>
                  <a:pt x="388" y="250"/>
                  <a:pt x="231" y="390"/>
                </a:cubicBezTo>
                <a:close/>
              </a:path>
            </a:pathLst>
          </a:custGeom>
          <a:solidFill>
            <a:srgbClr val="0070C0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6" name="Freeform 502">
            <a:extLst>
              <a:ext uri="{FF2B5EF4-FFF2-40B4-BE49-F238E27FC236}">
                <a16:creationId xmlns:a16="http://schemas.microsoft.com/office/drawing/2014/main" id="{1CC0BCD9-DABE-497B-9662-0A2D72215D2D}"/>
              </a:ext>
            </a:extLst>
          </p:cNvPr>
          <p:cNvSpPr>
            <a:spLocks/>
          </p:cNvSpPr>
          <p:nvPr/>
        </p:nvSpPr>
        <p:spPr bwMode="auto">
          <a:xfrm>
            <a:off x="2846521" y="2443626"/>
            <a:ext cx="1919661" cy="1947714"/>
          </a:xfrm>
          <a:custGeom>
            <a:avLst/>
            <a:gdLst>
              <a:gd name="T0" fmla="*/ 403 w 404"/>
              <a:gd name="T1" fmla="*/ 409 h 410"/>
              <a:gd name="T2" fmla="*/ 55 w 404"/>
              <a:gd name="T3" fmla="*/ 410 h 410"/>
              <a:gd name="T4" fmla="*/ 0 w 404"/>
              <a:gd name="T5" fmla="*/ 256 h 410"/>
              <a:gd name="T6" fmla="*/ 222 w 404"/>
              <a:gd name="T7" fmla="*/ 0 h 410"/>
              <a:gd name="T8" fmla="*/ 244 w 404"/>
              <a:gd name="T9" fmla="*/ 17 h 410"/>
              <a:gd name="T10" fmla="*/ 403 w 404"/>
              <a:gd name="T11" fmla="*/ 409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4" h="410">
                <a:moveTo>
                  <a:pt x="403" y="409"/>
                </a:moveTo>
                <a:cubicBezTo>
                  <a:pt x="55" y="410"/>
                  <a:pt x="55" y="410"/>
                  <a:pt x="55" y="410"/>
                </a:cubicBezTo>
                <a:cubicBezTo>
                  <a:pt x="0" y="256"/>
                  <a:pt x="0" y="256"/>
                  <a:pt x="0" y="256"/>
                </a:cubicBezTo>
                <a:cubicBezTo>
                  <a:pt x="222" y="0"/>
                  <a:pt x="222" y="0"/>
                  <a:pt x="222" y="0"/>
                </a:cubicBezTo>
                <a:cubicBezTo>
                  <a:pt x="244" y="17"/>
                  <a:pt x="244" y="17"/>
                  <a:pt x="244" y="17"/>
                </a:cubicBezTo>
                <a:cubicBezTo>
                  <a:pt x="244" y="17"/>
                  <a:pt x="404" y="167"/>
                  <a:pt x="403" y="409"/>
                </a:cubicBezTo>
                <a:close/>
              </a:path>
            </a:pathLst>
          </a:custGeom>
          <a:solidFill>
            <a:srgbClr val="002060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7" name="Freeform 503">
            <a:extLst>
              <a:ext uri="{FF2B5EF4-FFF2-40B4-BE49-F238E27FC236}">
                <a16:creationId xmlns:a16="http://schemas.microsoft.com/office/drawing/2014/main" id="{973F9D31-520E-4575-8779-397D91C4FF9C}"/>
              </a:ext>
            </a:extLst>
          </p:cNvPr>
          <p:cNvSpPr>
            <a:spLocks/>
          </p:cNvSpPr>
          <p:nvPr/>
        </p:nvSpPr>
        <p:spPr bwMode="auto">
          <a:xfrm>
            <a:off x="2048999" y="1604025"/>
            <a:ext cx="2041895" cy="2069947"/>
          </a:xfrm>
          <a:custGeom>
            <a:avLst/>
            <a:gdLst>
              <a:gd name="T0" fmla="*/ 0 w 430"/>
              <a:gd name="T1" fmla="*/ 6 h 436"/>
              <a:gd name="T2" fmla="*/ 7 w 430"/>
              <a:gd name="T3" fmla="*/ 383 h 436"/>
              <a:gd name="T4" fmla="*/ 177 w 430"/>
              <a:gd name="T5" fmla="*/ 436 h 436"/>
              <a:gd name="T6" fmla="*/ 430 w 430"/>
              <a:gd name="T7" fmla="*/ 175 h 436"/>
              <a:gd name="T8" fmla="*/ 0 w 430"/>
              <a:gd name="T9" fmla="*/ 6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0" h="436">
                <a:moveTo>
                  <a:pt x="0" y="6"/>
                </a:moveTo>
                <a:cubicBezTo>
                  <a:pt x="7" y="383"/>
                  <a:pt x="7" y="383"/>
                  <a:pt x="7" y="383"/>
                </a:cubicBezTo>
                <a:cubicBezTo>
                  <a:pt x="177" y="436"/>
                  <a:pt x="177" y="436"/>
                  <a:pt x="177" y="436"/>
                </a:cubicBezTo>
                <a:cubicBezTo>
                  <a:pt x="430" y="175"/>
                  <a:pt x="430" y="175"/>
                  <a:pt x="430" y="175"/>
                </a:cubicBezTo>
                <a:cubicBezTo>
                  <a:pt x="430" y="175"/>
                  <a:pt x="262" y="0"/>
                  <a:pt x="0" y="6"/>
                </a:cubicBezTo>
                <a:close/>
              </a:path>
            </a:pathLst>
          </a:custGeom>
          <a:solidFill>
            <a:srgbClr val="C00000"/>
          </a:solidFill>
          <a:ln w="3175" cap="flat">
            <a:noFill/>
            <a:prstDash val="solid"/>
            <a:miter lim="800000"/>
            <a:headEnd/>
            <a:tailEnd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E33BDE7-619B-484E-A17F-DE0EDC230A40}"/>
              </a:ext>
            </a:extLst>
          </p:cNvPr>
          <p:cNvGrpSpPr/>
          <p:nvPr/>
        </p:nvGrpSpPr>
        <p:grpSpPr>
          <a:xfrm>
            <a:off x="1265506" y="3241147"/>
            <a:ext cx="2013842" cy="2013841"/>
            <a:chOff x="1497013" y="3295650"/>
            <a:chExt cx="1595438" cy="1595437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D5C565F-EBED-4798-86C8-815B79621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013" y="3295650"/>
              <a:ext cx="1595438" cy="1595437"/>
            </a:xfrm>
            <a:prstGeom prst="ellipse">
              <a:avLst/>
            </a:prstGeom>
            <a:solidFill>
              <a:schemeClr val="bg1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9DD6C6E-B53E-43C5-841A-A565E2206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600" y="3424238"/>
              <a:ext cx="1338263" cy="1338262"/>
            </a:xfrm>
            <a:prstGeom prst="ellipse">
              <a:avLst/>
            </a:prstGeom>
            <a:solidFill>
              <a:srgbClr val="AAAAAA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9A832C6-02A4-4CE7-9FCC-44AF702AE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3106" y="3531743"/>
              <a:ext cx="1123251" cy="1123251"/>
            </a:xfrm>
            <a:prstGeom prst="ellipse">
              <a:avLst/>
            </a:prstGeom>
            <a:solidFill>
              <a:schemeClr val="bg1"/>
            </a:solidFill>
            <a:ln w="3175" cap="flat">
              <a:noFill/>
              <a:prstDash val="solid"/>
              <a:miter lim="800000"/>
              <a:headEnd/>
              <a:tailEnd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9" name="TextBox 105">
            <a:extLst>
              <a:ext uri="{FF2B5EF4-FFF2-40B4-BE49-F238E27FC236}">
                <a16:creationId xmlns:a16="http://schemas.microsoft.com/office/drawing/2014/main" id="{725284F2-8C8A-4F8A-A268-9CCF5B878ECB}"/>
              </a:ext>
            </a:extLst>
          </p:cNvPr>
          <p:cNvSpPr txBox="1"/>
          <p:nvPr/>
        </p:nvSpPr>
        <p:spPr>
          <a:xfrm>
            <a:off x="2302260" y="2575605"/>
            <a:ext cx="1036093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Power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Outage</a:t>
            </a:r>
          </a:p>
        </p:txBody>
      </p:sp>
      <p:sp>
        <p:nvSpPr>
          <p:cNvPr id="20" name="TextBox 128">
            <a:extLst>
              <a:ext uri="{FF2B5EF4-FFF2-40B4-BE49-F238E27FC236}">
                <a16:creationId xmlns:a16="http://schemas.microsoft.com/office/drawing/2014/main" id="{E6FF01C4-6831-486F-8A58-70026FBB5D5D}"/>
              </a:ext>
            </a:extLst>
          </p:cNvPr>
          <p:cNvSpPr txBox="1"/>
          <p:nvPr/>
        </p:nvSpPr>
        <p:spPr>
          <a:xfrm>
            <a:off x="3451643" y="3639958"/>
            <a:ext cx="1036093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Account Management</a:t>
            </a:r>
          </a:p>
        </p:txBody>
      </p:sp>
      <p:sp>
        <p:nvSpPr>
          <p:cNvPr id="21" name="TextBox 133">
            <a:extLst>
              <a:ext uri="{FF2B5EF4-FFF2-40B4-BE49-F238E27FC236}">
                <a16:creationId xmlns:a16="http://schemas.microsoft.com/office/drawing/2014/main" id="{22F1449D-6D10-4045-B697-692FFC88D3F8}"/>
              </a:ext>
            </a:extLst>
          </p:cNvPr>
          <p:cNvSpPr txBox="1"/>
          <p:nvPr/>
        </p:nvSpPr>
        <p:spPr>
          <a:xfrm>
            <a:off x="3286880" y="5017433"/>
            <a:ext cx="1036093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</a:rPr>
              <a:t>General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Enquiries</a:t>
            </a:r>
          </a:p>
        </p:txBody>
      </p:sp>
      <p:sp>
        <p:nvSpPr>
          <p:cNvPr id="23" name="TextBox 105">
            <a:extLst>
              <a:ext uri="{FF2B5EF4-FFF2-40B4-BE49-F238E27FC236}">
                <a16:creationId xmlns:a16="http://schemas.microsoft.com/office/drawing/2014/main" id="{D3D8FB3A-D1CA-4FCD-81C0-9D0EF9C226A9}"/>
              </a:ext>
            </a:extLst>
          </p:cNvPr>
          <p:cNvSpPr txBox="1"/>
          <p:nvPr/>
        </p:nvSpPr>
        <p:spPr>
          <a:xfrm>
            <a:off x="2315881" y="2098613"/>
            <a:ext cx="1036093" cy="51370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01</a:t>
            </a:r>
          </a:p>
        </p:txBody>
      </p:sp>
      <p:sp>
        <p:nvSpPr>
          <p:cNvPr id="24" name="TextBox 105">
            <a:extLst>
              <a:ext uri="{FF2B5EF4-FFF2-40B4-BE49-F238E27FC236}">
                <a16:creationId xmlns:a16="http://schemas.microsoft.com/office/drawing/2014/main" id="{CB06BC3C-3FDC-4A0C-853E-3C4F7F76FD30}"/>
              </a:ext>
            </a:extLst>
          </p:cNvPr>
          <p:cNvSpPr txBox="1"/>
          <p:nvPr/>
        </p:nvSpPr>
        <p:spPr>
          <a:xfrm>
            <a:off x="3384457" y="3192237"/>
            <a:ext cx="1036093" cy="51370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25" name="TextBox 105">
            <a:extLst>
              <a:ext uri="{FF2B5EF4-FFF2-40B4-BE49-F238E27FC236}">
                <a16:creationId xmlns:a16="http://schemas.microsoft.com/office/drawing/2014/main" id="{65EACD95-BF8B-4C00-8C92-9065DA4F4536}"/>
              </a:ext>
            </a:extLst>
          </p:cNvPr>
          <p:cNvSpPr txBox="1"/>
          <p:nvPr/>
        </p:nvSpPr>
        <p:spPr>
          <a:xfrm>
            <a:off x="3292312" y="4562442"/>
            <a:ext cx="1036093" cy="51370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EC78EA4-9F57-48D5-8F03-52FAEB065E47}"/>
              </a:ext>
            </a:extLst>
          </p:cNvPr>
          <p:cNvGrpSpPr/>
          <p:nvPr/>
        </p:nvGrpSpPr>
        <p:grpSpPr>
          <a:xfrm>
            <a:off x="1935351" y="3912997"/>
            <a:ext cx="670140" cy="670140"/>
            <a:chOff x="7613650" y="1387475"/>
            <a:chExt cx="284163" cy="284163"/>
          </a:xfrm>
          <a:solidFill>
            <a:srgbClr val="AAAAAA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8" name="Freeform 4359">
              <a:extLst>
                <a:ext uri="{FF2B5EF4-FFF2-40B4-BE49-F238E27FC236}">
                  <a16:creationId xmlns:a16="http://schemas.microsoft.com/office/drawing/2014/main" id="{293E357E-9854-4CBC-AFBC-ECDD4E5C2E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3650" y="1471613"/>
              <a:ext cx="200025" cy="200025"/>
            </a:xfrm>
            <a:custGeom>
              <a:avLst/>
              <a:gdLst>
                <a:gd name="T0" fmla="*/ 276 w 629"/>
                <a:gd name="T1" fmla="*/ 436 h 629"/>
                <a:gd name="T2" fmla="*/ 233 w 629"/>
                <a:gd name="T3" fmla="*/ 411 h 629"/>
                <a:gd name="T4" fmla="*/ 202 w 629"/>
                <a:gd name="T5" fmla="*/ 374 h 629"/>
                <a:gd name="T6" fmla="*/ 187 w 629"/>
                <a:gd name="T7" fmla="*/ 325 h 629"/>
                <a:gd name="T8" fmla="*/ 192 w 629"/>
                <a:gd name="T9" fmla="*/ 274 h 629"/>
                <a:gd name="T10" fmla="*/ 216 w 629"/>
                <a:gd name="T11" fmla="*/ 231 h 629"/>
                <a:gd name="T12" fmla="*/ 253 w 629"/>
                <a:gd name="T13" fmla="*/ 199 h 629"/>
                <a:gd name="T14" fmla="*/ 301 w 629"/>
                <a:gd name="T15" fmla="*/ 184 h 629"/>
                <a:gd name="T16" fmla="*/ 352 w 629"/>
                <a:gd name="T17" fmla="*/ 190 h 629"/>
                <a:gd name="T18" fmla="*/ 395 w 629"/>
                <a:gd name="T19" fmla="*/ 213 h 629"/>
                <a:gd name="T20" fmla="*/ 426 w 629"/>
                <a:gd name="T21" fmla="*/ 252 h 629"/>
                <a:gd name="T22" fmla="*/ 441 w 629"/>
                <a:gd name="T23" fmla="*/ 300 h 629"/>
                <a:gd name="T24" fmla="*/ 436 w 629"/>
                <a:gd name="T25" fmla="*/ 350 h 629"/>
                <a:gd name="T26" fmla="*/ 413 w 629"/>
                <a:gd name="T27" fmla="*/ 394 h 629"/>
                <a:gd name="T28" fmla="*/ 375 w 629"/>
                <a:gd name="T29" fmla="*/ 425 h 629"/>
                <a:gd name="T30" fmla="*/ 327 w 629"/>
                <a:gd name="T31" fmla="*/ 440 h 629"/>
                <a:gd name="T32" fmla="*/ 572 w 629"/>
                <a:gd name="T33" fmla="*/ 346 h 629"/>
                <a:gd name="T34" fmla="*/ 574 w 629"/>
                <a:gd name="T35" fmla="*/ 302 h 629"/>
                <a:gd name="T36" fmla="*/ 620 w 629"/>
                <a:gd name="T37" fmla="*/ 241 h 629"/>
                <a:gd name="T38" fmla="*/ 628 w 629"/>
                <a:gd name="T39" fmla="*/ 231 h 629"/>
                <a:gd name="T40" fmla="*/ 625 w 629"/>
                <a:gd name="T41" fmla="*/ 219 h 629"/>
                <a:gd name="T42" fmla="*/ 544 w 629"/>
                <a:gd name="T43" fmla="*/ 84 h 629"/>
                <a:gd name="T44" fmla="*/ 532 w 629"/>
                <a:gd name="T45" fmla="*/ 83 h 629"/>
                <a:gd name="T46" fmla="*/ 447 w 629"/>
                <a:gd name="T47" fmla="*/ 88 h 629"/>
                <a:gd name="T48" fmla="*/ 407 w 629"/>
                <a:gd name="T49" fmla="*/ 69 h 629"/>
                <a:gd name="T50" fmla="*/ 404 w 629"/>
                <a:gd name="T51" fmla="*/ 7 h 629"/>
                <a:gd name="T52" fmla="*/ 395 w 629"/>
                <a:gd name="T53" fmla="*/ 0 h 629"/>
                <a:gd name="T54" fmla="*/ 235 w 629"/>
                <a:gd name="T55" fmla="*/ 1 h 629"/>
                <a:gd name="T56" fmla="*/ 227 w 629"/>
                <a:gd name="T57" fmla="*/ 10 h 629"/>
                <a:gd name="T58" fmla="*/ 216 w 629"/>
                <a:gd name="T59" fmla="*/ 72 h 629"/>
                <a:gd name="T60" fmla="*/ 177 w 629"/>
                <a:gd name="T61" fmla="*/ 91 h 629"/>
                <a:gd name="T62" fmla="*/ 98 w 629"/>
                <a:gd name="T63" fmla="*/ 84 h 629"/>
                <a:gd name="T64" fmla="*/ 87 w 629"/>
                <a:gd name="T65" fmla="*/ 83 h 629"/>
                <a:gd name="T66" fmla="*/ 78 w 629"/>
                <a:gd name="T67" fmla="*/ 90 h 629"/>
                <a:gd name="T68" fmla="*/ 1 w 629"/>
                <a:gd name="T69" fmla="*/ 228 h 629"/>
                <a:gd name="T70" fmla="*/ 57 w 629"/>
                <a:gd name="T71" fmla="*/ 269 h 629"/>
                <a:gd name="T72" fmla="*/ 54 w 629"/>
                <a:gd name="T73" fmla="*/ 313 h 629"/>
                <a:gd name="T74" fmla="*/ 57 w 629"/>
                <a:gd name="T75" fmla="*/ 355 h 629"/>
                <a:gd name="T76" fmla="*/ 2 w 629"/>
                <a:gd name="T77" fmla="*/ 391 h 629"/>
                <a:gd name="T78" fmla="*/ 1 w 629"/>
                <a:gd name="T79" fmla="*/ 402 h 629"/>
                <a:gd name="T80" fmla="*/ 86 w 629"/>
                <a:gd name="T81" fmla="*/ 543 h 629"/>
                <a:gd name="T82" fmla="*/ 98 w 629"/>
                <a:gd name="T83" fmla="*/ 542 h 629"/>
                <a:gd name="T84" fmla="*/ 177 w 629"/>
                <a:gd name="T85" fmla="*/ 533 h 629"/>
                <a:gd name="T86" fmla="*/ 216 w 629"/>
                <a:gd name="T87" fmla="*/ 552 h 629"/>
                <a:gd name="T88" fmla="*/ 227 w 629"/>
                <a:gd name="T89" fmla="*/ 620 h 629"/>
                <a:gd name="T90" fmla="*/ 235 w 629"/>
                <a:gd name="T91" fmla="*/ 628 h 629"/>
                <a:gd name="T92" fmla="*/ 395 w 629"/>
                <a:gd name="T93" fmla="*/ 629 h 629"/>
                <a:gd name="T94" fmla="*/ 404 w 629"/>
                <a:gd name="T95" fmla="*/ 623 h 629"/>
                <a:gd name="T96" fmla="*/ 407 w 629"/>
                <a:gd name="T97" fmla="*/ 556 h 629"/>
                <a:gd name="T98" fmla="*/ 447 w 629"/>
                <a:gd name="T99" fmla="*/ 538 h 629"/>
                <a:gd name="T100" fmla="*/ 533 w 629"/>
                <a:gd name="T101" fmla="*/ 543 h 629"/>
                <a:gd name="T102" fmla="*/ 545 w 629"/>
                <a:gd name="T103" fmla="*/ 543 h 629"/>
                <a:gd name="T104" fmla="*/ 627 w 629"/>
                <a:gd name="T105" fmla="*/ 405 h 629"/>
                <a:gd name="T106" fmla="*/ 628 w 629"/>
                <a:gd name="T107" fmla="*/ 394 h 629"/>
                <a:gd name="T108" fmla="*/ 621 w 629"/>
                <a:gd name="T109" fmla="*/ 38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9" h="629">
                  <a:moveTo>
                    <a:pt x="314" y="441"/>
                  </a:moveTo>
                  <a:lnTo>
                    <a:pt x="301" y="440"/>
                  </a:lnTo>
                  <a:lnTo>
                    <a:pt x="288" y="439"/>
                  </a:lnTo>
                  <a:lnTo>
                    <a:pt x="276" y="436"/>
                  </a:lnTo>
                  <a:lnTo>
                    <a:pt x="264" y="430"/>
                  </a:lnTo>
                  <a:lnTo>
                    <a:pt x="253" y="425"/>
                  </a:lnTo>
                  <a:lnTo>
                    <a:pt x="242" y="418"/>
                  </a:lnTo>
                  <a:lnTo>
                    <a:pt x="233" y="411"/>
                  </a:lnTo>
                  <a:lnTo>
                    <a:pt x="223" y="404"/>
                  </a:lnTo>
                  <a:lnTo>
                    <a:pt x="216" y="394"/>
                  </a:lnTo>
                  <a:lnTo>
                    <a:pt x="208" y="384"/>
                  </a:lnTo>
                  <a:lnTo>
                    <a:pt x="202" y="374"/>
                  </a:lnTo>
                  <a:lnTo>
                    <a:pt x="196" y="362"/>
                  </a:lnTo>
                  <a:lnTo>
                    <a:pt x="192" y="350"/>
                  </a:lnTo>
                  <a:lnTo>
                    <a:pt x="189" y="338"/>
                  </a:lnTo>
                  <a:lnTo>
                    <a:pt x="187" y="325"/>
                  </a:lnTo>
                  <a:lnTo>
                    <a:pt x="186" y="313"/>
                  </a:lnTo>
                  <a:lnTo>
                    <a:pt x="187" y="300"/>
                  </a:lnTo>
                  <a:lnTo>
                    <a:pt x="189" y="287"/>
                  </a:lnTo>
                  <a:lnTo>
                    <a:pt x="192" y="274"/>
                  </a:lnTo>
                  <a:lnTo>
                    <a:pt x="196" y="262"/>
                  </a:lnTo>
                  <a:lnTo>
                    <a:pt x="202" y="252"/>
                  </a:lnTo>
                  <a:lnTo>
                    <a:pt x="208" y="241"/>
                  </a:lnTo>
                  <a:lnTo>
                    <a:pt x="216" y="231"/>
                  </a:lnTo>
                  <a:lnTo>
                    <a:pt x="223" y="222"/>
                  </a:lnTo>
                  <a:lnTo>
                    <a:pt x="233" y="213"/>
                  </a:lnTo>
                  <a:lnTo>
                    <a:pt x="242" y="206"/>
                  </a:lnTo>
                  <a:lnTo>
                    <a:pt x="253" y="199"/>
                  </a:lnTo>
                  <a:lnTo>
                    <a:pt x="264" y="194"/>
                  </a:lnTo>
                  <a:lnTo>
                    <a:pt x="276" y="190"/>
                  </a:lnTo>
                  <a:lnTo>
                    <a:pt x="288" y="186"/>
                  </a:lnTo>
                  <a:lnTo>
                    <a:pt x="301" y="184"/>
                  </a:lnTo>
                  <a:lnTo>
                    <a:pt x="314" y="184"/>
                  </a:lnTo>
                  <a:lnTo>
                    <a:pt x="327" y="184"/>
                  </a:lnTo>
                  <a:lnTo>
                    <a:pt x="340" y="186"/>
                  </a:lnTo>
                  <a:lnTo>
                    <a:pt x="352" y="190"/>
                  </a:lnTo>
                  <a:lnTo>
                    <a:pt x="363" y="194"/>
                  </a:lnTo>
                  <a:lnTo>
                    <a:pt x="375" y="199"/>
                  </a:lnTo>
                  <a:lnTo>
                    <a:pt x="386" y="206"/>
                  </a:lnTo>
                  <a:lnTo>
                    <a:pt x="395" y="213"/>
                  </a:lnTo>
                  <a:lnTo>
                    <a:pt x="404" y="222"/>
                  </a:lnTo>
                  <a:lnTo>
                    <a:pt x="413" y="231"/>
                  </a:lnTo>
                  <a:lnTo>
                    <a:pt x="420" y="241"/>
                  </a:lnTo>
                  <a:lnTo>
                    <a:pt x="426" y="252"/>
                  </a:lnTo>
                  <a:lnTo>
                    <a:pt x="432" y="262"/>
                  </a:lnTo>
                  <a:lnTo>
                    <a:pt x="436" y="274"/>
                  </a:lnTo>
                  <a:lnTo>
                    <a:pt x="439" y="287"/>
                  </a:lnTo>
                  <a:lnTo>
                    <a:pt x="441" y="300"/>
                  </a:lnTo>
                  <a:lnTo>
                    <a:pt x="443" y="313"/>
                  </a:lnTo>
                  <a:lnTo>
                    <a:pt x="441" y="325"/>
                  </a:lnTo>
                  <a:lnTo>
                    <a:pt x="439" y="338"/>
                  </a:lnTo>
                  <a:lnTo>
                    <a:pt x="436" y="350"/>
                  </a:lnTo>
                  <a:lnTo>
                    <a:pt x="432" y="362"/>
                  </a:lnTo>
                  <a:lnTo>
                    <a:pt x="426" y="374"/>
                  </a:lnTo>
                  <a:lnTo>
                    <a:pt x="420" y="384"/>
                  </a:lnTo>
                  <a:lnTo>
                    <a:pt x="413" y="394"/>
                  </a:lnTo>
                  <a:lnTo>
                    <a:pt x="404" y="404"/>
                  </a:lnTo>
                  <a:lnTo>
                    <a:pt x="395" y="411"/>
                  </a:lnTo>
                  <a:lnTo>
                    <a:pt x="386" y="418"/>
                  </a:lnTo>
                  <a:lnTo>
                    <a:pt x="375" y="425"/>
                  </a:lnTo>
                  <a:lnTo>
                    <a:pt x="363" y="430"/>
                  </a:lnTo>
                  <a:lnTo>
                    <a:pt x="352" y="436"/>
                  </a:lnTo>
                  <a:lnTo>
                    <a:pt x="340" y="439"/>
                  </a:lnTo>
                  <a:lnTo>
                    <a:pt x="327" y="440"/>
                  </a:lnTo>
                  <a:lnTo>
                    <a:pt x="314" y="441"/>
                  </a:lnTo>
                  <a:close/>
                  <a:moveTo>
                    <a:pt x="621" y="385"/>
                  </a:moveTo>
                  <a:lnTo>
                    <a:pt x="571" y="355"/>
                  </a:lnTo>
                  <a:lnTo>
                    <a:pt x="572" y="346"/>
                  </a:lnTo>
                  <a:lnTo>
                    <a:pt x="573" y="335"/>
                  </a:lnTo>
                  <a:lnTo>
                    <a:pt x="574" y="323"/>
                  </a:lnTo>
                  <a:lnTo>
                    <a:pt x="574" y="313"/>
                  </a:lnTo>
                  <a:lnTo>
                    <a:pt x="574" y="302"/>
                  </a:lnTo>
                  <a:lnTo>
                    <a:pt x="573" y="291"/>
                  </a:lnTo>
                  <a:lnTo>
                    <a:pt x="572" y="280"/>
                  </a:lnTo>
                  <a:lnTo>
                    <a:pt x="570" y="269"/>
                  </a:lnTo>
                  <a:lnTo>
                    <a:pt x="620" y="241"/>
                  </a:lnTo>
                  <a:lnTo>
                    <a:pt x="623" y="239"/>
                  </a:lnTo>
                  <a:lnTo>
                    <a:pt x="624" y="237"/>
                  </a:lnTo>
                  <a:lnTo>
                    <a:pt x="627" y="234"/>
                  </a:lnTo>
                  <a:lnTo>
                    <a:pt x="628" y="231"/>
                  </a:lnTo>
                  <a:lnTo>
                    <a:pt x="628" y="228"/>
                  </a:lnTo>
                  <a:lnTo>
                    <a:pt x="628" y="226"/>
                  </a:lnTo>
                  <a:lnTo>
                    <a:pt x="628" y="223"/>
                  </a:lnTo>
                  <a:lnTo>
                    <a:pt x="625" y="219"/>
                  </a:lnTo>
                  <a:lnTo>
                    <a:pt x="551" y="90"/>
                  </a:lnTo>
                  <a:lnTo>
                    <a:pt x="548" y="87"/>
                  </a:lnTo>
                  <a:lnTo>
                    <a:pt x="546" y="85"/>
                  </a:lnTo>
                  <a:lnTo>
                    <a:pt x="544" y="84"/>
                  </a:lnTo>
                  <a:lnTo>
                    <a:pt x="541" y="83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2" y="83"/>
                  </a:lnTo>
                  <a:lnTo>
                    <a:pt x="530" y="84"/>
                  </a:lnTo>
                  <a:lnTo>
                    <a:pt x="481" y="113"/>
                  </a:lnTo>
                  <a:lnTo>
                    <a:pt x="465" y="99"/>
                  </a:lnTo>
                  <a:lnTo>
                    <a:pt x="447" y="88"/>
                  </a:lnTo>
                  <a:lnTo>
                    <a:pt x="438" y="83"/>
                  </a:lnTo>
                  <a:lnTo>
                    <a:pt x="429" y="77"/>
                  </a:lnTo>
                  <a:lnTo>
                    <a:pt x="418" y="73"/>
                  </a:lnTo>
                  <a:lnTo>
                    <a:pt x="407" y="69"/>
                  </a:lnTo>
                  <a:lnTo>
                    <a:pt x="407" y="15"/>
                  </a:lnTo>
                  <a:lnTo>
                    <a:pt x="407" y="12"/>
                  </a:lnTo>
                  <a:lnTo>
                    <a:pt x="406" y="10"/>
                  </a:lnTo>
                  <a:lnTo>
                    <a:pt x="404" y="7"/>
                  </a:lnTo>
                  <a:lnTo>
                    <a:pt x="403" y="4"/>
                  </a:lnTo>
                  <a:lnTo>
                    <a:pt x="401" y="2"/>
                  </a:lnTo>
                  <a:lnTo>
                    <a:pt x="398" y="1"/>
                  </a:lnTo>
                  <a:lnTo>
                    <a:pt x="395" y="0"/>
                  </a:lnTo>
                  <a:lnTo>
                    <a:pt x="392" y="0"/>
                  </a:lnTo>
                  <a:lnTo>
                    <a:pt x="241" y="0"/>
                  </a:lnTo>
                  <a:lnTo>
                    <a:pt x="238" y="0"/>
                  </a:lnTo>
                  <a:lnTo>
                    <a:pt x="235" y="1"/>
                  </a:lnTo>
                  <a:lnTo>
                    <a:pt x="233" y="2"/>
                  </a:lnTo>
                  <a:lnTo>
                    <a:pt x="231" y="4"/>
                  </a:lnTo>
                  <a:lnTo>
                    <a:pt x="229" y="7"/>
                  </a:lnTo>
                  <a:lnTo>
                    <a:pt x="227" y="10"/>
                  </a:lnTo>
                  <a:lnTo>
                    <a:pt x="226" y="12"/>
                  </a:lnTo>
                  <a:lnTo>
                    <a:pt x="226" y="15"/>
                  </a:lnTo>
                  <a:lnTo>
                    <a:pt x="226" y="69"/>
                  </a:lnTo>
                  <a:lnTo>
                    <a:pt x="216" y="72"/>
                  </a:lnTo>
                  <a:lnTo>
                    <a:pt x="206" y="76"/>
                  </a:lnTo>
                  <a:lnTo>
                    <a:pt x="196" y="80"/>
                  </a:lnTo>
                  <a:lnTo>
                    <a:pt x="187" y="86"/>
                  </a:lnTo>
                  <a:lnTo>
                    <a:pt x="177" y="91"/>
                  </a:lnTo>
                  <a:lnTo>
                    <a:pt x="168" y="98"/>
                  </a:lnTo>
                  <a:lnTo>
                    <a:pt x="159" y="105"/>
                  </a:lnTo>
                  <a:lnTo>
                    <a:pt x="149" y="113"/>
                  </a:lnTo>
                  <a:lnTo>
                    <a:pt x="98" y="84"/>
                  </a:lnTo>
                  <a:lnTo>
                    <a:pt x="96" y="83"/>
                  </a:lnTo>
                  <a:lnTo>
                    <a:pt x="93" y="81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4" y="84"/>
                  </a:lnTo>
                  <a:lnTo>
                    <a:pt x="82" y="85"/>
                  </a:lnTo>
                  <a:lnTo>
                    <a:pt x="80" y="87"/>
                  </a:lnTo>
                  <a:lnTo>
                    <a:pt x="78" y="90"/>
                  </a:lnTo>
                  <a:lnTo>
                    <a:pt x="3" y="219"/>
                  </a:lnTo>
                  <a:lnTo>
                    <a:pt x="1" y="222"/>
                  </a:lnTo>
                  <a:lnTo>
                    <a:pt x="1" y="225"/>
                  </a:lnTo>
                  <a:lnTo>
                    <a:pt x="1" y="228"/>
                  </a:lnTo>
                  <a:lnTo>
                    <a:pt x="1" y="230"/>
                  </a:lnTo>
                  <a:lnTo>
                    <a:pt x="4" y="236"/>
                  </a:lnTo>
                  <a:lnTo>
                    <a:pt x="8" y="241"/>
                  </a:lnTo>
                  <a:lnTo>
                    <a:pt x="57" y="269"/>
                  </a:lnTo>
                  <a:lnTo>
                    <a:pt x="56" y="280"/>
                  </a:lnTo>
                  <a:lnTo>
                    <a:pt x="55" y="291"/>
                  </a:lnTo>
                  <a:lnTo>
                    <a:pt x="54" y="302"/>
                  </a:lnTo>
                  <a:lnTo>
                    <a:pt x="54" y="313"/>
                  </a:lnTo>
                  <a:lnTo>
                    <a:pt x="54" y="323"/>
                  </a:lnTo>
                  <a:lnTo>
                    <a:pt x="55" y="335"/>
                  </a:lnTo>
                  <a:lnTo>
                    <a:pt x="56" y="346"/>
                  </a:lnTo>
                  <a:lnTo>
                    <a:pt x="57" y="355"/>
                  </a:lnTo>
                  <a:lnTo>
                    <a:pt x="7" y="385"/>
                  </a:lnTo>
                  <a:lnTo>
                    <a:pt x="5" y="387"/>
                  </a:lnTo>
                  <a:lnTo>
                    <a:pt x="3" y="389"/>
                  </a:lnTo>
                  <a:lnTo>
                    <a:pt x="2" y="391"/>
                  </a:lnTo>
                  <a:lnTo>
                    <a:pt x="1" y="394"/>
                  </a:lnTo>
                  <a:lnTo>
                    <a:pt x="0" y="396"/>
                  </a:lnTo>
                  <a:lnTo>
                    <a:pt x="1" y="399"/>
                  </a:lnTo>
                  <a:lnTo>
                    <a:pt x="1" y="402"/>
                  </a:lnTo>
                  <a:lnTo>
                    <a:pt x="2" y="405"/>
                  </a:lnTo>
                  <a:lnTo>
                    <a:pt x="78" y="536"/>
                  </a:lnTo>
                  <a:lnTo>
                    <a:pt x="81" y="540"/>
                  </a:lnTo>
                  <a:lnTo>
                    <a:pt x="86" y="543"/>
                  </a:lnTo>
                  <a:lnTo>
                    <a:pt x="89" y="544"/>
                  </a:lnTo>
                  <a:lnTo>
                    <a:pt x="93" y="544"/>
                  </a:lnTo>
                  <a:lnTo>
                    <a:pt x="95" y="543"/>
                  </a:lnTo>
                  <a:lnTo>
                    <a:pt x="98" y="542"/>
                  </a:lnTo>
                  <a:lnTo>
                    <a:pt x="149" y="513"/>
                  </a:lnTo>
                  <a:lnTo>
                    <a:pt x="159" y="520"/>
                  </a:lnTo>
                  <a:lnTo>
                    <a:pt x="168" y="527"/>
                  </a:lnTo>
                  <a:lnTo>
                    <a:pt x="177" y="533"/>
                  </a:lnTo>
                  <a:lnTo>
                    <a:pt x="187" y="539"/>
                  </a:lnTo>
                  <a:lnTo>
                    <a:pt x="196" y="544"/>
                  </a:lnTo>
                  <a:lnTo>
                    <a:pt x="206" y="549"/>
                  </a:lnTo>
                  <a:lnTo>
                    <a:pt x="216" y="552"/>
                  </a:lnTo>
                  <a:lnTo>
                    <a:pt x="226" y="556"/>
                  </a:lnTo>
                  <a:lnTo>
                    <a:pt x="226" y="614"/>
                  </a:lnTo>
                  <a:lnTo>
                    <a:pt x="226" y="617"/>
                  </a:lnTo>
                  <a:lnTo>
                    <a:pt x="227" y="620"/>
                  </a:lnTo>
                  <a:lnTo>
                    <a:pt x="229" y="623"/>
                  </a:lnTo>
                  <a:lnTo>
                    <a:pt x="231" y="625"/>
                  </a:lnTo>
                  <a:lnTo>
                    <a:pt x="233" y="627"/>
                  </a:lnTo>
                  <a:lnTo>
                    <a:pt x="235" y="628"/>
                  </a:lnTo>
                  <a:lnTo>
                    <a:pt x="238" y="629"/>
                  </a:lnTo>
                  <a:lnTo>
                    <a:pt x="241" y="629"/>
                  </a:lnTo>
                  <a:lnTo>
                    <a:pt x="392" y="629"/>
                  </a:lnTo>
                  <a:lnTo>
                    <a:pt x="395" y="629"/>
                  </a:lnTo>
                  <a:lnTo>
                    <a:pt x="398" y="628"/>
                  </a:lnTo>
                  <a:lnTo>
                    <a:pt x="401" y="627"/>
                  </a:lnTo>
                  <a:lnTo>
                    <a:pt x="403" y="625"/>
                  </a:lnTo>
                  <a:lnTo>
                    <a:pt x="404" y="623"/>
                  </a:lnTo>
                  <a:lnTo>
                    <a:pt x="406" y="620"/>
                  </a:lnTo>
                  <a:lnTo>
                    <a:pt x="407" y="617"/>
                  </a:lnTo>
                  <a:lnTo>
                    <a:pt x="407" y="614"/>
                  </a:lnTo>
                  <a:lnTo>
                    <a:pt x="407" y="556"/>
                  </a:lnTo>
                  <a:lnTo>
                    <a:pt x="418" y="552"/>
                  </a:lnTo>
                  <a:lnTo>
                    <a:pt x="429" y="548"/>
                  </a:lnTo>
                  <a:lnTo>
                    <a:pt x="438" y="544"/>
                  </a:lnTo>
                  <a:lnTo>
                    <a:pt x="447" y="538"/>
                  </a:lnTo>
                  <a:lnTo>
                    <a:pt x="465" y="527"/>
                  </a:lnTo>
                  <a:lnTo>
                    <a:pt x="481" y="513"/>
                  </a:lnTo>
                  <a:lnTo>
                    <a:pt x="530" y="542"/>
                  </a:lnTo>
                  <a:lnTo>
                    <a:pt x="533" y="543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42" y="543"/>
                  </a:lnTo>
                  <a:lnTo>
                    <a:pt x="545" y="543"/>
                  </a:lnTo>
                  <a:lnTo>
                    <a:pt x="547" y="540"/>
                  </a:lnTo>
                  <a:lnTo>
                    <a:pt x="550" y="539"/>
                  </a:lnTo>
                  <a:lnTo>
                    <a:pt x="552" y="536"/>
                  </a:lnTo>
                  <a:lnTo>
                    <a:pt x="627" y="405"/>
                  </a:lnTo>
                  <a:lnTo>
                    <a:pt x="628" y="402"/>
                  </a:lnTo>
                  <a:lnTo>
                    <a:pt x="628" y="399"/>
                  </a:lnTo>
                  <a:lnTo>
                    <a:pt x="629" y="396"/>
                  </a:lnTo>
                  <a:lnTo>
                    <a:pt x="628" y="394"/>
                  </a:lnTo>
                  <a:lnTo>
                    <a:pt x="627" y="391"/>
                  </a:lnTo>
                  <a:lnTo>
                    <a:pt x="625" y="389"/>
                  </a:lnTo>
                  <a:lnTo>
                    <a:pt x="623" y="387"/>
                  </a:lnTo>
                  <a:lnTo>
                    <a:pt x="621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360">
              <a:extLst>
                <a:ext uri="{FF2B5EF4-FFF2-40B4-BE49-F238E27FC236}">
                  <a16:creationId xmlns:a16="http://schemas.microsoft.com/office/drawing/2014/main" id="{FC20E898-E4F3-4B15-9E82-EE7012ADBD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1925" y="1387475"/>
              <a:ext cx="115888" cy="117475"/>
            </a:xfrm>
            <a:custGeom>
              <a:avLst/>
              <a:gdLst>
                <a:gd name="T0" fmla="*/ 160 w 362"/>
                <a:gd name="T1" fmla="*/ 252 h 369"/>
                <a:gd name="T2" fmla="*/ 135 w 362"/>
                <a:gd name="T3" fmla="*/ 238 h 369"/>
                <a:gd name="T4" fmla="*/ 118 w 362"/>
                <a:gd name="T5" fmla="*/ 218 h 369"/>
                <a:gd name="T6" fmla="*/ 109 w 362"/>
                <a:gd name="T7" fmla="*/ 190 h 369"/>
                <a:gd name="T8" fmla="*/ 113 w 362"/>
                <a:gd name="T9" fmla="*/ 162 h 369"/>
                <a:gd name="T10" fmla="*/ 125 w 362"/>
                <a:gd name="T11" fmla="*/ 138 h 369"/>
                <a:gd name="T12" fmla="*/ 147 w 362"/>
                <a:gd name="T13" fmla="*/ 121 h 369"/>
                <a:gd name="T14" fmla="*/ 174 w 362"/>
                <a:gd name="T15" fmla="*/ 112 h 369"/>
                <a:gd name="T16" fmla="*/ 202 w 362"/>
                <a:gd name="T17" fmla="*/ 114 h 369"/>
                <a:gd name="T18" fmla="*/ 226 w 362"/>
                <a:gd name="T19" fmla="*/ 128 h 369"/>
                <a:gd name="T20" fmla="*/ 244 w 362"/>
                <a:gd name="T21" fmla="*/ 149 h 369"/>
                <a:gd name="T22" fmla="*/ 252 w 362"/>
                <a:gd name="T23" fmla="*/ 176 h 369"/>
                <a:gd name="T24" fmla="*/ 250 w 362"/>
                <a:gd name="T25" fmla="*/ 205 h 369"/>
                <a:gd name="T26" fmla="*/ 236 w 362"/>
                <a:gd name="T27" fmla="*/ 229 h 369"/>
                <a:gd name="T28" fmla="*/ 215 w 362"/>
                <a:gd name="T29" fmla="*/ 247 h 369"/>
                <a:gd name="T30" fmla="*/ 189 w 362"/>
                <a:gd name="T31" fmla="*/ 254 h 369"/>
                <a:gd name="T32" fmla="*/ 328 w 362"/>
                <a:gd name="T33" fmla="*/ 195 h 369"/>
                <a:gd name="T34" fmla="*/ 354 w 362"/>
                <a:gd name="T35" fmla="*/ 144 h 369"/>
                <a:gd name="T36" fmla="*/ 361 w 362"/>
                <a:gd name="T37" fmla="*/ 136 h 369"/>
                <a:gd name="T38" fmla="*/ 360 w 362"/>
                <a:gd name="T39" fmla="*/ 124 h 369"/>
                <a:gd name="T40" fmla="*/ 316 w 362"/>
                <a:gd name="T41" fmla="*/ 53 h 369"/>
                <a:gd name="T42" fmla="*/ 304 w 362"/>
                <a:gd name="T43" fmla="*/ 52 h 369"/>
                <a:gd name="T44" fmla="*/ 256 w 362"/>
                <a:gd name="T45" fmla="*/ 56 h 369"/>
                <a:gd name="T46" fmla="*/ 236 w 362"/>
                <a:gd name="T47" fmla="*/ 10 h 369"/>
                <a:gd name="T48" fmla="*/ 229 w 362"/>
                <a:gd name="T49" fmla="*/ 2 h 369"/>
                <a:gd name="T50" fmla="*/ 146 w 362"/>
                <a:gd name="T51" fmla="*/ 0 h 369"/>
                <a:gd name="T52" fmla="*/ 135 w 362"/>
                <a:gd name="T53" fmla="*/ 3 h 369"/>
                <a:gd name="T54" fmla="*/ 131 w 362"/>
                <a:gd name="T55" fmla="*/ 14 h 369"/>
                <a:gd name="T56" fmla="*/ 99 w 362"/>
                <a:gd name="T57" fmla="*/ 63 h 369"/>
                <a:gd name="T58" fmla="*/ 55 w 362"/>
                <a:gd name="T59" fmla="*/ 51 h 369"/>
                <a:gd name="T60" fmla="*/ 44 w 362"/>
                <a:gd name="T61" fmla="*/ 54 h 369"/>
                <a:gd name="T62" fmla="*/ 1 w 362"/>
                <a:gd name="T63" fmla="*/ 126 h 369"/>
                <a:gd name="T64" fmla="*/ 2 w 362"/>
                <a:gd name="T65" fmla="*/ 139 h 369"/>
                <a:gd name="T66" fmla="*/ 36 w 362"/>
                <a:gd name="T67" fmla="*/ 160 h 369"/>
                <a:gd name="T68" fmla="*/ 36 w 362"/>
                <a:gd name="T69" fmla="*/ 207 h 369"/>
                <a:gd name="T70" fmla="*/ 1 w 362"/>
                <a:gd name="T71" fmla="*/ 230 h 369"/>
                <a:gd name="T72" fmla="*/ 1 w 362"/>
                <a:gd name="T73" fmla="*/ 240 h 369"/>
                <a:gd name="T74" fmla="*/ 44 w 362"/>
                <a:gd name="T75" fmla="*/ 313 h 369"/>
                <a:gd name="T76" fmla="*/ 60 w 362"/>
                <a:gd name="T77" fmla="*/ 314 h 369"/>
                <a:gd name="T78" fmla="*/ 120 w 362"/>
                <a:gd name="T79" fmla="*/ 316 h 369"/>
                <a:gd name="T80" fmla="*/ 132 w 362"/>
                <a:gd name="T81" fmla="*/ 359 h 369"/>
                <a:gd name="T82" fmla="*/ 140 w 362"/>
                <a:gd name="T83" fmla="*/ 368 h 369"/>
                <a:gd name="T84" fmla="*/ 225 w 362"/>
                <a:gd name="T85" fmla="*/ 368 h 369"/>
                <a:gd name="T86" fmla="*/ 233 w 362"/>
                <a:gd name="T87" fmla="*/ 361 h 369"/>
                <a:gd name="T88" fmla="*/ 237 w 362"/>
                <a:gd name="T89" fmla="*/ 321 h 369"/>
                <a:gd name="T90" fmla="*/ 274 w 362"/>
                <a:gd name="T91" fmla="*/ 298 h 369"/>
                <a:gd name="T92" fmla="*/ 310 w 362"/>
                <a:gd name="T93" fmla="*/ 316 h 369"/>
                <a:gd name="T94" fmla="*/ 360 w 362"/>
                <a:gd name="T95" fmla="*/ 243 h 369"/>
                <a:gd name="T96" fmla="*/ 362 w 362"/>
                <a:gd name="T97" fmla="*/ 232 h 369"/>
                <a:gd name="T98" fmla="*/ 354 w 362"/>
                <a:gd name="T99" fmla="*/ 22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62" h="369">
                  <a:moveTo>
                    <a:pt x="181" y="255"/>
                  </a:moveTo>
                  <a:lnTo>
                    <a:pt x="174" y="254"/>
                  </a:lnTo>
                  <a:lnTo>
                    <a:pt x="166" y="253"/>
                  </a:lnTo>
                  <a:lnTo>
                    <a:pt x="160" y="252"/>
                  </a:lnTo>
                  <a:lnTo>
                    <a:pt x="153" y="249"/>
                  </a:lnTo>
                  <a:lnTo>
                    <a:pt x="147" y="247"/>
                  </a:lnTo>
                  <a:lnTo>
                    <a:pt x="141" y="243"/>
                  </a:lnTo>
                  <a:lnTo>
                    <a:pt x="135" y="238"/>
                  </a:lnTo>
                  <a:lnTo>
                    <a:pt x="131" y="234"/>
                  </a:lnTo>
                  <a:lnTo>
                    <a:pt x="125" y="229"/>
                  </a:lnTo>
                  <a:lnTo>
                    <a:pt x="122" y="223"/>
                  </a:lnTo>
                  <a:lnTo>
                    <a:pt x="118" y="218"/>
                  </a:lnTo>
                  <a:lnTo>
                    <a:pt x="115" y="212"/>
                  </a:lnTo>
                  <a:lnTo>
                    <a:pt x="113" y="205"/>
                  </a:lnTo>
                  <a:lnTo>
                    <a:pt x="110" y="198"/>
                  </a:lnTo>
                  <a:lnTo>
                    <a:pt x="109" y="190"/>
                  </a:lnTo>
                  <a:lnTo>
                    <a:pt x="109" y="183"/>
                  </a:lnTo>
                  <a:lnTo>
                    <a:pt x="109" y="176"/>
                  </a:lnTo>
                  <a:lnTo>
                    <a:pt x="110" y="169"/>
                  </a:lnTo>
                  <a:lnTo>
                    <a:pt x="113" y="162"/>
                  </a:lnTo>
                  <a:lnTo>
                    <a:pt x="115" y="156"/>
                  </a:lnTo>
                  <a:lnTo>
                    <a:pt x="118" y="149"/>
                  </a:lnTo>
                  <a:lnTo>
                    <a:pt x="122" y="143"/>
                  </a:lnTo>
                  <a:lnTo>
                    <a:pt x="125" y="138"/>
                  </a:lnTo>
                  <a:lnTo>
                    <a:pt x="131" y="132"/>
                  </a:lnTo>
                  <a:lnTo>
                    <a:pt x="135" y="128"/>
                  </a:lnTo>
                  <a:lnTo>
                    <a:pt x="141" y="124"/>
                  </a:lnTo>
                  <a:lnTo>
                    <a:pt x="147" y="121"/>
                  </a:lnTo>
                  <a:lnTo>
                    <a:pt x="153" y="117"/>
                  </a:lnTo>
                  <a:lnTo>
                    <a:pt x="160" y="114"/>
                  </a:lnTo>
                  <a:lnTo>
                    <a:pt x="166" y="113"/>
                  </a:lnTo>
                  <a:lnTo>
                    <a:pt x="174" y="112"/>
                  </a:lnTo>
                  <a:lnTo>
                    <a:pt x="181" y="111"/>
                  </a:lnTo>
                  <a:lnTo>
                    <a:pt x="189" y="112"/>
                  </a:lnTo>
                  <a:lnTo>
                    <a:pt x="195" y="113"/>
                  </a:lnTo>
                  <a:lnTo>
                    <a:pt x="202" y="114"/>
                  </a:lnTo>
                  <a:lnTo>
                    <a:pt x="209" y="117"/>
                  </a:lnTo>
                  <a:lnTo>
                    <a:pt x="215" y="121"/>
                  </a:lnTo>
                  <a:lnTo>
                    <a:pt x="221" y="124"/>
                  </a:lnTo>
                  <a:lnTo>
                    <a:pt x="226" y="128"/>
                  </a:lnTo>
                  <a:lnTo>
                    <a:pt x="231" y="132"/>
                  </a:lnTo>
                  <a:lnTo>
                    <a:pt x="236" y="138"/>
                  </a:lnTo>
                  <a:lnTo>
                    <a:pt x="240" y="143"/>
                  </a:lnTo>
                  <a:lnTo>
                    <a:pt x="244" y="149"/>
                  </a:lnTo>
                  <a:lnTo>
                    <a:pt x="247" y="156"/>
                  </a:lnTo>
                  <a:lnTo>
                    <a:pt x="250" y="162"/>
                  </a:lnTo>
                  <a:lnTo>
                    <a:pt x="251" y="169"/>
                  </a:lnTo>
                  <a:lnTo>
                    <a:pt x="252" y="176"/>
                  </a:lnTo>
                  <a:lnTo>
                    <a:pt x="253" y="183"/>
                  </a:lnTo>
                  <a:lnTo>
                    <a:pt x="252" y="190"/>
                  </a:lnTo>
                  <a:lnTo>
                    <a:pt x="251" y="198"/>
                  </a:lnTo>
                  <a:lnTo>
                    <a:pt x="250" y="205"/>
                  </a:lnTo>
                  <a:lnTo>
                    <a:pt x="247" y="212"/>
                  </a:lnTo>
                  <a:lnTo>
                    <a:pt x="244" y="218"/>
                  </a:lnTo>
                  <a:lnTo>
                    <a:pt x="240" y="223"/>
                  </a:lnTo>
                  <a:lnTo>
                    <a:pt x="236" y="229"/>
                  </a:lnTo>
                  <a:lnTo>
                    <a:pt x="231" y="234"/>
                  </a:lnTo>
                  <a:lnTo>
                    <a:pt x="226" y="238"/>
                  </a:lnTo>
                  <a:lnTo>
                    <a:pt x="221" y="243"/>
                  </a:lnTo>
                  <a:lnTo>
                    <a:pt x="215" y="247"/>
                  </a:lnTo>
                  <a:lnTo>
                    <a:pt x="209" y="249"/>
                  </a:lnTo>
                  <a:lnTo>
                    <a:pt x="202" y="252"/>
                  </a:lnTo>
                  <a:lnTo>
                    <a:pt x="195" y="253"/>
                  </a:lnTo>
                  <a:lnTo>
                    <a:pt x="189" y="254"/>
                  </a:lnTo>
                  <a:lnTo>
                    <a:pt x="181" y="255"/>
                  </a:lnTo>
                  <a:close/>
                  <a:moveTo>
                    <a:pt x="354" y="223"/>
                  </a:moveTo>
                  <a:lnTo>
                    <a:pt x="327" y="207"/>
                  </a:lnTo>
                  <a:lnTo>
                    <a:pt x="328" y="195"/>
                  </a:lnTo>
                  <a:lnTo>
                    <a:pt x="328" y="183"/>
                  </a:lnTo>
                  <a:lnTo>
                    <a:pt x="328" y="172"/>
                  </a:lnTo>
                  <a:lnTo>
                    <a:pt x="327" y="160"/>
                  </a:lnTo>
                  <a:lnTo>
                    <a:pt x="354" y="144"/>
                  </a:lnTo>
                  <a:lnTo>
                    <a:pt x="357" y="143"/>
                  </a:lnTo>
                  <a:lnTo>
                    <a:pt x="359" y="141"/>
                  </a:lnTo>
                  <a:lnTo>
                    <a:pt x="360" y="139"/>
                  </a:lnTo>
                  <a:lnTo>
                    <a:pt x="361" y="136"/>
                  </a:lnTo>
                  <a:lnTo>
                    <a:pt x="362" y="132"/>
                  </a:lnTo>
                  <a:lnTo>
                    <a:pt x="362" y="129"/>
                  </a:lnTo>
                  <a:lnTo>
                    <a:pt x="361" y="126"/>
                  </a:lnTo>
                  <a:lnTo>
                    <a:pt x="360" y="124"/>
                  </a:lnTo>
                  <a:lnTo>
                    <a:pt x="322" y="59"/>
                  </a:lnTo>
                  <a:lnTo>
                    <a:pt x="320" y="56"/>
                  </a:lnTo>
                  <a:lnTo>
                    <a:pt x="318" y="54"/>
                  </a:lnTo>
                  <a:lnTo>
                    <a:pt x="316" y="53"/>
                  </a:lnTo>
                  <a:lnTo>
                    <a:pt x="313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301" y="53"/>
                  </a:lnTo>
                  <a:lnTo>
                    <a:pt x="274" y="69"/>
                  </a:lnTo>
                  <a:lnTo>
                    <a:pt x="266" y="63"/>
                  </a:lnTo>
                  <a:lnTo>
                    <a:pt x="256" y="56"/>
                  </a:lnTo>
                  <a:lnTo>
                    <a:pt x="246" y="51"/>
                  </a:lnTo>
                  <a:lnTo>
                    <a:pt x="237" y="47"/>
                  </a:lnTo>
                  <a:lnTo>
                    <a:pt x="237" y="14"/>
                  </a:lnTo>
                  <a:lnTo>
                    <a:pt x="236" y="10"/>
                  </a:lnTo>
                  <a:lnTo>
                    <a:pt x="236" y="8"/>
                  </a:lnTo>
                  <a:lnTo>
                    <a:pt x="233" y="5"/>
                  </a:lnTo>
                  <a:lnTo>
                    <a:pt x="232" y="3"/>
                  </a:lnTo>
                  <a:lnTo>
                    <a:pt x="229" y="2"/>
                  </a:lnTo>
                  <a:lnTo>
                    <a:pt x="227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146" y="0"/>
                  </a:lnTo>
                  <a:lnTo>
                    <a:pt x="143" y="0"/>
                  </a:lnTo>
                  <a:lnTo>
                    <a:pt x="140" y="1"/>
                  </a:lnTo>
                  <a:lnTo>
                    <a:pt x="137" y="2"/>
                  </a:lnTo>
                  <a:lnTo>
                    <a:pt x="135" y="3"/>
                  </a:lnTo>
                  <a:lnTo>
                    <a:pt x="134" y="5"/>
                  </a:lnTo>
                  <a:lnTo>
                    <a:pt x="132" y="8"/>
                  </a:lnTo>
                  <a:lnTo>
                    <a:pt x="132" y="10"/>
                  </a:lnTo>
                  <a:lnTo>
                    <a:pt x="131" y="14"/>
                  </a:lnTo>
                  <a:lnTo>
                    <a:pt x="131" y="47"/>
                  </a:lnTo>
                  <a:lnTo>
                    <a:pt x="120" y="52"/>
                  </a:lnTo>
                  <a:lnTo>
                    <a:pt x="109" y="57"/>
                  </a:lnTo>
                  <a:lnTo>
                    <a:pt x="99" y="63"/>
                  </a:lnTo>
                  <a:lnTo>
                    <a:pt x="90" y="69"/>
                  </a:lnTo>
                  <a:lnTo>
                    <a:pt x="61" y="53"/>
                  </a:lnTo>
                  <a:lnTo>
                    <a:pt x="58" y="52"/>
                  </a:lnTo>
                  <a:lnTo>
                    <a:pt x="55" y="51"/>
                  </a:lnTo>
                  <a:lnTo>
                    <a:pt x="53" y="51"/>
                  </a:lnTo>
                  <a:lnTo>
                    <a:pt x="49" y="51"/>
                  </a:lnTo>
                  <a:lnTo>
                    <a:pt x="47" y="52"/>
                  </a:lnTo>
                  <a:lnTo>
                    <a:pt x="44" y="54"/>
                  </a:lnTo>
                  <a:lnTo>
                    <a:pt x="42" y="56"/>
                  </a:lnTo>
                  <a:lnTo>
                    <a:pt x="41" y="59"/>
                  </a:lnTo>
                  <a:lnTo>
                    <a:pt x="2" y="124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6"/>
                  </a:lnTo>
                  <a:lnTo>
                    <a:pt x="2" y="139"/>
                  </a:lnTo>
                  <a:lnTo>
                    <a:pt x="3" y="141"/>
                  </a:lnTo>
                  <a:lnTo>
                    <a:pt x="6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4" y="172"/>
                  </a:lnTo>
                  <a:lnTo>
                    <a:pt x="34" y="183"/>
                  </a:lnTo>
                  <a:lnTo>
                    <a:pt x="34" y="195"/>
                  </a:lnTo>
                  <a:lnTo>
                    <a:pt x="36" y="207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1" y="230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1" y="240"/>
                  </a:lnTo>
                  <a:lnTo>
                    <a:pt x="2" y="243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4"/>
                  </a:lnTo>
                  <a:lnTo>
                    <a:pt x="48" y="315"/>
                  </a:lnTo>
                  <a:lnTo>
                    <a:pt x="55" y="316"/>
                  </a:lnTo>
                  <a:lnTo>
                    <a:pt x="60" y="314"/>
                  </a:lnTo>
                  <a:lnTo>
                    <a:pt x="90" y="297"/>
                  </a:lnTo>
                  <a:lnTo>
                    <a:pt x="99" y="304"/>
                  </a:lnTo>
                  <a:lnTo>
                    <a:pt x="109" y="310"/>
                  </a:lnTo>
                  <a:lnTo>
                    <a:pt x="120" y="316"/>
                  </a:lnTo>
                  <a:lnTo>
                    <a:pt x="131" y="321"/>
                  </a:lnTo>
                  <a:lnTo>
                    <a:pt x="131" y="354"/>
                  </a:lnTo>
                  <a:lnTo>
                    <a:pt x="132" y="356"/>
                  </a:lnTo>
                  <a:lnTo>
                    <a:pt x="132" y="359"/>
                  </a:lnTo>
                  <a:lnTo>
                    <a:pt x="134" y="361"/>
                  </a:lnTo>
                  <a:lnTo>
                    <a:pt x="135" y="363"/>
                  </a:lnTo>
                  <a:lnTo>
                    <a:pt x="137" y="366"/>
                  </a:lnTo>
                  <a:lnTo>
                    <a:pt x="140" y="368"/>
                  </a:lnTo>
                  <a:lnTo>
                    <a:pt x="143" y="368"/>
                  </a:lnTo>
                  <a:lnTo>
                    <a:pt x="146" y="369"/>
                  </a:lnTo>
                  <a:lnTo>
                    <a:pt x="222" y="369"/>
                  </a:lnTo>
                  <a:lnTo>
                    <a:pt x="225" y="368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2" y="363"/>
                  </a:lnTo>
                  <a:lnTo>
                    <a:pt x="233" y="361"/>
                  </a:lnTo>
                  <a:lnTo>
                    <a:pt x="236" y="359"/>
                  </a:lnTo>
                  <a:lnTo>
                    <a:pt x="236" y="356"/>
                  </a:lnTo>
                  <a:lnTo>
                    <a:pt x="237" y="354"/>
                  </a:lnTo>
                  <a:lnTo>
                    <a:pt x="237" y="321"/>
                  </a:lnTo>
                  <a:lnTo>
                    <a:pt x="246" y="316"/>
                  </a:lnTo>
                  <a:lnTo>
                    <a:pt x="256" y="311"/>
                  </a:lnTo>
                  <a:lnTo>
                    <a:pt x="266" y="305"/>
                  </a:lnTo>
                  <a:lnTo>
                    <a:pt x="274" y="298"/>
                  </a:lnTo>
                  <a:lnTo>
                    <a:pt x="302" y="313"/>
                  </a:lnTo>
                  <a:lnTo>
                    <a:pt x="305" y="315"/>
                  </a:lnTo>
                  <a:lnTo>
                    <a:pt x="307" y="315"/>
                  </a:lnTo>
                  <a:lnTo>
                    <a:pt x="310" y="316"/>
                  </a:lnTo>
                  <a:lnTo>
                    <a:pt x="314" y="316"/>
                  </a:lnTo>
                  <a:lnTo>
                    <a:pt x="319" y="313"/>
                  </a:lnTo>
                  <a:lnTo>
                    <a:pt x="322" y="309"/>
                  </a:lnTo>
                  <a:lnTo>
                    <a:pt x="360" y="243"/>
                  </a:lnTo>
                  <a:lnTo>
                    <a:pt x="362" y="240"/>
                  </a:lnTo>
                  <a:lnTo>
                    <a:pt x="362" y="237"/>
                  </a:lnTo>
                  <a:lnTo>
                    <a:pt x="362" y="234"/>
                  </a:lnTo>
                  <a:lnTo>
                    <a:pt x="362" y="232"/>
                  </a:lnTo>
                  <a:lnTo>
                    <a:pt x="361" y="229"/>
                  </a:lnTo>
                  <a:lnTo>
                    <a:pt x="359" y="227"/>
                  </a:lnTo>
                  <a:lnTo>
                    <a:pt x="357" y="224"/>
                  </a:lnTo>
                  <a:lnTo>
                    <a:pt x="35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7B2D51F-2C7F-49AB-9010-1855DF9AE736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The opportunity is &gt;RM50mil a year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0862E0-9B99-49D6-9BA8-C920F64AD123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104">
            <a:extLst>
              <a:ext uri="{FF2B5EF4-FFF2-40B4-BE49-F238E27FC236}">
                <a16:creationId xmlns:a16="http://schemas.microsoft.com/office/drawing/2014/main" id="{0B1E7A78-EF6F-4575-8161-896A3EC646E4}"/>
              </a:ext>
            </a:extLst>
          </p:cNvPr>
          <p:cNvSpPr txBox="1"/>
          <p:nvPr/>
        </p:nvSpPr>
        <p:spPr>
          <a:xfrm>
            <a:off x="5638772" y="1925291"/>
            <a:ext cx="2295554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Outage Savings</a:t>
            </a:r>
          </a:p>
          <a:p>
            <a:r>
              <a:rPr lang="en-US" sz="1200" dirty="0"/>
              <a:t>Over RM4mil a year is lost based on TNB’s SAIDI of 50 mins and revenue of RM42bil a year</a:t>
            </a:r>
          </a:p>
        </p:txBody>
      </p:sp>
      <p:sp>
        <p:nvSpPr>
          <p:cNvPr id="34" name="TextBox 133">
            <a:extLst>
              <a:ext uri="{FF2B5EF4-FFF2-40B4-BE49-F238E27FC236}">
                <a16:creationId xmlns:a16="http://schemas.microsoft.com/office/drawing/2014/main" id="{6518350B-A2A5-43C2-B4AA-8EB2A2FE396F}"/>
              </a:ext>
            </a:extLst>
          </p:cNvPr>
          <p:cNvSpPr txBox="1"/>
          <p:nvPr/>
        </p:nvSpPr>
        <p:spPr>
          <a:xfrm>
            <a:off x="2282896" y="5704426"/>
            <a:ext cx="1036093" cy="4924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Global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35" name="TextBox 105">
            <a:extLst>
              <a:ext uri="{FF2B5EF4-FFF2-40B4-BE49-F238E27FC236}">
                <a16:creationId xmlns:a16="http://schemas.microsoft.com/office/drawing/2014/main" id="{0C8298C4-78A1-40AD-B032-4E63339CC26A}"/>
              </a:ext>
            </a:extLst>
          </p:cNvPr>
          <p:cNvSpPr txBox="1"/>
          <p:nvPr/>
        </p:nvSpPr>
        <p:spPr>
          <a:xfrm>
            <a:off x="2235830" y="5277409"/>
            <a:ext cx="1036093" cy="4924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39" name="TextBox 104">
            <a:extLst>
              <a:ext uri="{FF2B5EF4-FFF2-40B4-BE49-F238E27FC236}">
                <a16:creationId xmlns:a16="http://schemas.microsoft.com/office/drawing/2014/main" id="{A41FC042-23F8-40DA-B4A4-2D7F3BCEB060}"/>
              </a:ext>
            </a:extLst>
          </p:cNvPr>
          <p:cNvSpPr txBox="1"/>
          <p:nvPr/>
        </p:nvSpPr>
        <p:spPr>
          <a:xfrm>
            <a:off x="8755035" y="1925290"/>
            <a:ext cx="2600353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Outage </a:t>
            </a:r>
            <a:r>
              <a:rPr lang="en-US" sz="1600" b="1" dirty="0" err="1"/>
              <a:t>Mgnt</a:t>
            </a:r>
            <a:r>
              <a:rPr lang="en-US" sz="1600" b="1" dirty="0"/>
              <a:t> Automation </a:t>
            </a:r>
          </a:p>
          <a:p>
            <a:r>
              <a:rPr lang="en-US" sz="1200" dirty="0"/>
              <a:t>Over 176 staff deployed in </a:t>
            </a:r>
            <a:r>
              <a:rPr lang="en-US" sz="1200" dirty="0" err="1"/>
              <a:t>CareLine</a:t>
            </a:r>
            <a:r>
              <a:rPr lang="en-US" sz="1200" dirty="0"/>
              <a:t> CNC answering on average 200k outage calls a year costing around RM16mil per year</a:t>
            </a:r>
          </a:p>
        </p:txBody>
      </p:sp>
      <p:sp>
        <p:nvSpPr>
          <p:cNvPr id="40" name="TextBox 104">
            <a:extLst>
              <a:ext uri="{FF2B5EF4-FFF2-40B4-BE49-F238E27FC236}">
                <a16:creationId xmlns:a16="http://schemas.microsoft.com/office/drawing/2014/main" id="{C049DC37-6A75-4662-AF33-EE405504F7E8}"/>
              </a:ext>
            </a:extLst>
          </p:cNvPr>
          <p:cNvSpPr txBox="1"/>
          <p:nvPr/>
        </p:nvSpPr>
        <p:spPr>
          <a:xfrm>
            <a:off x="5638771" y="4440440"/>
            <a:ext cx="2295554" cy="98488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Engage Socially</a:t>
            </a:r>
          </a:p>
          <a:p>
            <a:r>
              <a:rPr lang="en-US" sz="1200" dirty="0"/>
              <a:t>&gt;190K Facebook followers but only 4 FTE to reply in a few hours and only on working hours, replying to around 20k emails and chats a month</a:t>
            </a:r>
          </a:p>
        </p:txBody>
      </p:sp>
      <p:sp>
        <p:nvSpPr>
          <p:cNvPr id="41" name="TextBox 104">
            <a:extLst>
              <a:ext uri="{FF2B5EF4-FFF2-40B4-BE49-F238E27FC236}">
                <a16:creationId xmlns:a16="http://schemas.microsoft.com/office/drawing/2014/main" id="{F5B9C3FB-915E-4D3E-835D-66F3DADDED87}"/>
              </a:ext>
            </a:extLst>
          </p:cNvPr>
          <p:cNvSpPr txBox="1"/>
          <p:nvPr/>
        </p:nvSpPr>
        <p:spPr>
          <a:xfrm>
            <a:off x="5638771" y="5741592"/>
            <a:ext cx="2600353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Global Support Service</a:t>
            </a:r>
          </a:p>
          <a:p>
            <a:r>
              <a:rPr lang="en-US" sz="1200" dirty="0"/>
              <a:t>&gt;38,000 employees relying on manual helpdesks to get Finance, Legal, IT and HR Support only during working hours</a:t>
            </a:r>
          </a:p>
        </p:txBody>
      </p:sp>
      <p:sp>
        <p:nvSpPr>
          <p:cNvPr id="42" name="TextBox 104">
            <a:extLst>
              <a:ext uri="{FF2B5EF4-FFF2-40B4-BE49-F238E27FC236}">
                <a16:creationId xmlns:a16="http://schemas.microsoft.com/office/drawing/2014/main" id="{0439A7F9-A576-41CE-935E-691F4C6961E5}"/>
              </a:ext>
            </a:extLst>
          </p:cNvPr>
          <p:cNvSpPr txBox="1"/>
          <p:nvPr/>
        </p:nvSpPr>
        <p:spPr>
          <a:xfrm>
            <a:off x="5638771" y="3139045"/>
            <a:ext cx="2600353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Call Centre Automation</a:t>
            </a:r>
          </a:p>
          <a:p>
            <a:r>
              <a:rPr lang="en-MY" sz="1200" dirty="0"/>
              <a:t>Over 77 staff deployed in </a:t>
            </a:r>
            <a:r>
              <a:rPr lang="en-MY" sz="1200" dirty="0" err="1"/>
              <a:t>CareLine</a:t>
            </a:r>
            <a:r>
              <a:rPr lang="en-MY" sz="1200" dirty="0"/>
              <a:t> OMS answering on almost a million calls a year costing around RM5mil per year</a:t>
            </a:r>
          </a:p>
        </p:txBody>
      </p:sp>
      <p:sp>
        <p:nvSpPr>
          <p:cNvPr id="43" name="TextBox 104">
            <a:extLst>
              <a:ext uri="{FF2B5EF4-FFF2-40B4-BE49-F238E27FC236}">
                <a16:creationId xmlns:a16="http://schemas.microsoft.com/office/drawing/2014/main" id="{350210E8-0B01-4E60-B4EE-D31540D1472E}"/>
              </a:ext>
            </a:extLst>
          </p:cNvPr>
          <p:cNvSpPr txBox="1"/>
          <p:nvPr/>
        </p:nvSpPr>
        <p:spPr>
          <a:xfrm>
            <a:off x="8755035" y="3139044"/>
            <a:ext cx="2733704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Credit </a:t>
            </a:r>
            <a:r>
              <a:rPr lang="en-US" sz="1600" b="1" dirty="0" err="1"/>
              <a:t>Mgnt</a:t>
            </a:r>
            <a:r>
              <a:rPr lang="en-US" sz="1600" b="1" dirty="0"/>
              <a:t> Automation</a:t>
            </a:r>
          </a:p>
          <a:p>
            <a:r>
              <a:rPr lang="en-MY" sz="1200" dirty="0"/>
              <a:t>Over RM3bil in customer debt unpaid or ageing and over 50 FTE for calling customers </a:t>
            </a:r>
          </a:p>
        </p:txBody>
      </p:sp>
    </p:spTree>
    <p:extLst>
      <p:ext uri="{BB962C8B-B14F-4D97-AF65-F5344CB8AC3E}">
        <p14:creationId xmlns:p14="http://schemas.microsoft.com/office/powerpoint/2010/main" val="17651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2D51F-2C7F-49AB-9010-1855DF9AE736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AIDA is powered by Cloud Solution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DE38CF2-24EA-4DA0-8600-C7C9B9B01AAD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249410F8-CDF0-4253-B2BC-41C18401FE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65" t="8736" r="21102" b="2503"/>
          <a:stretch/>
        </p:blipFill>
        <p:spPr>
          <a:xfrm>
            <a:off x="839788" y="1690688"/>
            <a:ext cx="6969668" cy="4698157"/>
          </a:xfrm>
          <a:prstGeom prst="rect">
            <a:avLst/>
          </a:prstGeom>
        </p:spPr>
      </p:pic>
      <p:pic>
        <p:nvPicPr>
          <p:cNvPr id="3076" name="Picture 4" descr="Image result for dialog flow logo">
            <a:extLst>
              <a:ext uri="{FF2B5EF4-FFF2-40B4-BE49-F238E27FC236}">
                <a16:creationId xmlns:a16="http://schemas.microsoft.com/office/drawing/2014/main" id="{065BCC24-1B92-4296-9F37-0CA0EED084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765"/>
          <a:stretch/>
        </p:blipFill>
        <p:spPr bwMode="auto">
          <a:xfrm>
            <a:off x="8457110" y="2627183"/>
            <a:ext cx="2174767" cy="81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firebase">
            <a:extLst>
              <a:ext uri="{FF2B5EF4-FFF2-40B4-BE49-F238E27FC236}">
                <a16:creationId xmlns:a16="http://schemas.microsoft.com/office/drawing/2014/main" id="{9F40062A-815C-49AD-A29A-5C56FE8044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038" y="3472294"/>
            <a:ext cx="2098912" cy="679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google cloud platform">
            <a:extLst>
              <a:ext uri="{FF2B5EF4-FFF2-40B4-BE49-F238E27FC236}">
                <a16:creationId xmlns:a16="http://schemas.microsoft.com/office/drawing/2014/main" id="{F199EB18-9A0B-48F1-9D37-A806EDBCB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029" y="1691507"/>
            <a:ext cx="2174767" cy="7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mage result for aws">
            <a:extLst>
              <a:ext uri="{FF2B5EF4-FFF2-40B4-BE49-F238E27FC236}">
                <a16:creationId xmlns:a16="http://schemas.microsoft.com/office/drawing/2014/main" id="{9FF38CC3-6AB5-4AE4-8AE9-BA667BD40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029" y="4379269"/>
            <a:ext cx="1963572" cy="98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5055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CCED504-9F04-4920-99C8-56BC1D7714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7B2D51F-2C7F-49AB-9010-1855DF9AE736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>
                <a:solidFill>
                  <a:schemeClr val="bg1"/>
                </a:solidFill>
              </a:rPr>
              <a:t>Web Demo</a:t>
            </a:r>
          </a:p>
        </p:txBody>
      </p:sp>
    </p:spTree>
    <p:extLst>
      <p:ext uri="{BB962C8B-B14F-4D97-AF65-F5344CB8AC3E}">
        <p14:creationId xmlns:p14="http://schemas.microsoft.com/office/powerpoint/2010/main" val="33151360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5A840D00-6101-4392-9B66-AA37A486CF34}"/>
              </a:ext>
            </a:extLst>
          </p:cNvPr>
          <p:cNvGrpSpPr/>
          <p:nvPr/>
        </p:nvGrpSpPr>
        <p:grpSpPr>
          <a:xfrm>
            <a:off x="8869184" y="2505649"/>
            <a:ext cx="2627775" cy="4125943"/>
            <a:chOff x="6119898" y="2600899"/>
            <a:chExt cx="2627775" cy="41259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2314F58-DF54-407D-A993-61015600B7FE}"/>
                </a:ext>
              </a:extLst>
            </p:cNvPr>
            <p:cNvSpPr/>
            <p:nvPr/>
          </p:nvSpPr>
          <p:spPr>
            <a:xfrm>
              <a:off x="6119898" y="2600899"/>
              <a:ext cx="2627775" cy="332365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MY" dirty="0"/>
                <a:t>Business Inten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3B302C7-06AE-4E8D-87B2-18C6D2A2C1A7}"/>
                </a:ext>
              </a:extLst>
            </p:cNvPr>
            <p:cNvSpPr/>
            <p:nvPr/>
          </p:nvSpPr>
          <p:spPr>
            <a:xfrm>
              <a:off x="6251866" y="5184753"/>
              <a:ext cx="2354400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MY" dirty="0"/>
                <a:t>Outage</a:t>
              </a:r>
            </a:p>
            <a:p>
              <a:pPr algn="ctr"/>
              <a:r>
                <a:rPr lang="en-MY" dirty="0"/>
                <a:t>Managemen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C98E04B-2366-472C-AB76-8C0BAB700645}"/>
                </a:ext>
              </a:extLst>
            </p:cNvPr>
            <p:cNvSpPr/>
            <p:nvPr/>
          </p:nvSpPr>
          <p:spPr>
            <a:xfrm>
              <a:off x="6251866" y="4479501"/>
              <a:ext cx="2354400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MY" dirty="0"/>
                <a:t>Account</a:t>
              </a:r>
            </a:p>
            <a:p>
              <a:pPr algn="ctr"/>
              <a:r>
                <a:rPr lang="en-MY" dirty="0"/>
                <a:t>Managemen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A7B49DB-F996-44AF-86A3-92358B25939F}"/>
                </a:ext>
              </a:extLst>
            </p:cNvPr>
            <p:cNvSpPr/>
            <p:nvPr/>
          </p:nvSpPr>
          <p:spPr>
            <a:xfrm>
              <a:off x="6251866" y="2988965"/>
              <a:ext cx="2354400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MY" dirty="0"/>
                <a:t>Helpdesk</a:t>
              </a:r>
            </a:p>
            <a:p>
              <a:pPr algn="ctr"/>
              <a:r>
                <a:rPr lang="en-MY" dirty="0"/>
                <a:t>Suppor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1C65F70-F12D-42E5-8B66-878E87C0ADF4}"/>
                </a:ext>
              </a:extLst>
            </p:cNvPr>
            <p:cNvSpPr/>
            <p:nvPr/>
          </p:nvSpPr>
          <p:spPr>
            <a:xfrm>
              <a:off x="6251866" y="3734878"/>
              <a:ext cx="2354400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MY" dirty="0"/>
                <a:t>Social Media</a:t>
              </a:r>
            </a:p>
            <a:p>
              <a:pPr algn="ctr"/>
              <a:r>
                <a:rPr lang="en-MY" dirty="0"/>
                <a:t>Engagement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DCC2914-5216-4369-8D57-57353B22BAC9}"/>
                </a:ext>
              </a:extLst>
            </p:cNvPr>
            <p:cNvSpPr/>
            <p:nvPr/>
          </p:nvSpPr>
          <p:spPr>
            <a:xfrm>
              <a:off x="6119898" y="6023945"/>
              <a:ext cx="2627775" cy="7028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MY" dirty="0"/>
                <a:t>Business API Layer 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A7607B9-FF08-4539-AF5C-EAB9C05EF512}"/>
              </a:ext>
            </a:extLst>
          </p:cNvPr>
          <p:cNvSpPr/>
          <p:nvPr/>
        </p:nvSpPr>
        <p:spPr>
          <a:xfrm>
            <a:off x="3369455" y="3386984"/>
            <a:ext cx="2628000" cy="119124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MY" dirty="0"/>
              <a:t>Natural Langu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E97D3D4-31CE-4C63-A96B-372DC4122A2E}"/>
              </a:ext>
            </a:extLst>
          </p:cNvPr>
          <p:cNvSpPr/>
          <p:nvPr/>
        </p:nvSpPr>
        <p:spPr>
          <a:xfrm>
            <a:off x="3379912" y="2505647"/>
            <a:ext cx="2628000" cy="781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dirty="0"/>
              <a:t>Machine</a:t>
            </a:r>
          </a:p>
          <a:p>
            <a:pPr algn="ctr"/>
            <a:r>
              <a:rPr lang="en-MY" dirty="0"/>
              <a:t>Learn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B2F3A40-B2C4-482A-A89B-6F75EC727FCB}"/>
              </a:ext>
            </a:extLst>
          </p:cNvPr>
          <p:cNvSpPr/>
          <p:nvPr/>
        </p:nvSpPr>
        <p:spPr>
          <a:xfrm>
            <a:off x="3369454" y="4703516"/>
            <a:ext cx="2627775" cy="11257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MY" dirty="0"/>
              <a:t>Real-Time Translator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6C59B35-3953-4E0D-A4A2-FFD0C00AC110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Platform Architectur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4C68AA5-8F04-46F3-BA3C-AA762AA0DBAB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B546383F-F75E-48E0-8E29-6EC17576087E}"/>
              </a:ext>
            </a:extLst>
          </p:cNvPr>
          <p:cNvSpPr/>
          <p:nvPr/>
        </p:nvSpPr>
        <p:spPr>
          <a:xfrm>
            <a:off x="619012" y="2505648"/>
            <a:ext cx="2628000" cy="33236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MY" dirty="0"/>
              <a:t>Multi Platform Connectors</a:t>
            </a: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2F7D7360-6B9C-463B-A952-96E6F66171F3}"/>
              </a:ext>
            </a:extLst>
          </p:cNvPr>
          <p:cNvSpPr/>
          <p:nvPr/>
        </p:nvSpPr>
        <p:spPr>
          <a:xfrm>
            <a:off x="761944" y="1462099"/>
            <a:ext cx="10668113" cy="95023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B047A6-3A14-4A51-B943-B578DC7BE920}"/>
              </a:ext>
            </a:extLst>
          </p:cNvPr>
          <p:cNvSpPr/>
          <p:nvPr/>
        </p:nvSpPr>
        <p:spPr>
          <a:xfrm>
            <a:off x="4268288" y="1887280"/>
            <a:ext cx="3655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MY" dirty="0">
                <a:solidFill>
                  <a:schemeClr val="bg1"/>
                </a:solidFill>
              </a:rPr>
              <a:t>Artificially Intelligent Digital Assistant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8166EF2-99B8-413C-AE9A-F73E2659D062}"/>
              </a:ext>
            </a:extLst>
          </p:cNvPr>
          <p:cNvGrpSpPr/>
          <p:nvPr/>
        </p:nvGrpSpPr>
        <p:grpSpPr>
          <a:xfrm>
            <a:off x="6128588" y="2505649"/>
            <a:ext cx="2628000" cy="3323651"/>
            <a:chOff x="8868959" y="2600899"/>
            <a:chExt cx="2628000" cy="3323651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B41A2E0-49D4-491E-A481-54097AA3A26C}"/>
                </a:ext>
              </a:extLst>
            </p:cNvPr>
            <p:cNvSpPr/>
            <p:nvPr/>
          </p:nvSpPr>
          <p:spPr>
            <a:xfrm>
              <a:off x="8868959" y="2600899"/>
              <a:ext cx="2628000" cy="332365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MY" dirty="0"/>
                <a:t>Cognitive Intelligenc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3219471-ED37-4811-A9CA-2F5ABAB05AAE}"/>
                </a:ext>
              </a:extLst>
            </p:cNvPr>
            <p:cNvSpPr/>
            <p:nvPr/>
          </p:nvSpPr>
          <p:spPr>
            <a:xfrm>
              <a:off x="9003242" y="2988965"/>
              <a:ext cx="2352145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MY" dirty="0"/>
                <a:t>Emotional </a:t>
              </a:r>
            </a:p>
            <a:p>
              <a:pPr algn="ctr"/>
              <a:r>
                <a:rPr lang="en-MY" dirty="0"/>
                <a:t>Analysi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F35AB8B-A821-4614-BD5D-8F818B8A108B}"/>
                </a:ext>
              </a:extLst>
            </p:cNvPr>
            <p:cNvSpPr/>
            <p:nvPr/>
          </p:nvSpPr>
          <p:spPr>
            <a:xfrm>
              <a:off x="9003242" y="3737458"/>
              <a:ext cx="2352145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MY" dirty="0"/>
                <a:t>Human</a:t>
              </a:r>
            </a:p>
            <a:p>
              <a:pPr algn="ctr"/>
              <a:r>
                <a:rPr lang="en-MY" dirty="0"/>
                <a:t>Escala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3BCF2F4-5C7E-48DA-B916-A0F3FCEF1836}"/>
                </a:ext>
              </a:extLst>
            </p:cNvPr>
            <p:cNvSpPr/>
            <p:nvPr/>
          </p:nvSpPr>
          <p:spPr>
            <a:xfrm>
              <a:off x="9003243" y="4480791"/>
              <a:ext cx="2352145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MY" dirty="0"/>
                <a:t>Training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AEF229A-18C6-4D6C-8364-8AAFCE12356C}"/>
                </a:ext>
              </a:extLst>
            </p:cNvPr>
            <p:cNvSpPr/>
            <p:nvPr/>
          </p:nvSpPr>
          <p:spPr>
            <a:xfrm>
              <a:off x="9003243" y="5184753"/>
              <a:ext cx="2352145" cy="5950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MY" dirty="0"/>
                <a:t>Self Learning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B5D4649-3713-4D3B-A92D-70F4CD22B69E}"/>
              </a:ext>
            </a:extLst>
          </p:cNvPr>
          <p:cNvSpPr/>
          <p:nvPr/>
        </p:nvSpPr>
        <p:spPr>
          <a:xfrm>
            <a:off x="3516712" y="3763063"/>
            <a:ext cx="1093388" cy="595041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English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D3091E0-6E38-4922-A3D8-3E56EBE7047F}"/>
              </a:ext>
            </a:extLst>
          </p:cNvPr>
          <p:cNvSpPr/>
          <p:nvPr/>
        </p:nvSpPr>
        <p:spPr>
          <a:xfrm>
            <a:off x="4750984" y="3762001"/>
            <a:ext cx="1093388" cy="595041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Mandari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0EF10E0-17CC-4E17-BEEF-EEB974CF5AEB}"/>
              </a:ext>
            </a:extLst>
          </p:cNvPr>
          <p:cNvSpPr/>
          <p:nvPr/>
        </p:nvSpPr>
        <p:spPr>
          <a:xfrm>
            <a:off x="3516712" y="5078949"/>
            <a:ext cx="1093388" cy="595041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Mala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87AB7A1-AA9B-402B-AD88-F1EB3B9D737C}"/>
              </a:ext>
            </a:extLst>
          </p:cNvPr>
          <p:cNvSpPr/>
          <p:nvPr/>
        </p:nvSpPr>
        <p:spPr>
          <a:xfrm>
            <a:off x="4750984" y="5077887"/>
            <a:ext cx="1093388" cy="595041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Tami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A885B3D-E4D2-4CC8-BDC2-FA5AEDF545D9}"/>
              </a:ext>
            </a:extLst>
          </p:cNvPr>
          <p:cNvSpPr/>
          <p:nvPr/>
        </p:nvSpPr>
        <p:spPr>
          <a:xfrm>
            <a:off x="618784" y="5928695"/>
            <a:ext cx="8137803" cy="7028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dirty="0"/>
              <a:t>Realtime NoSQL Databas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7FCD7BA-E457-4C0E-A6D5-8E599F3BDAAF}"/>
              </a:ext>
            </a:extLst>
          </p:cNvPr>
          <p:cNvSpPr/>
          <p:nvPr/>
        </p:nvSpPr>
        <p:spPr>
          <a:xfrm>
            <a:off x="774586" y="3157855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We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0B850EE-6A40-4798-92DB-59D13DCF8403}"/>
              </a:ext>
            </a:extLst>
          </p:cNvPr>
          <p:cNvSpPr/>
          <p:nvPr/>
        </p:nvSpPr>
        <p:spPr>
          <a:xfrm>
            <a:off x="774586" y="3547318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iO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570EBAD-3925-4655-AD9E-DCD66996A6A7}"/>
              </a:ext>
            </a:extLst>
          </p:cNvPr>
          <p:cNvSpPr/>
          <p:nvPr/>
        </p:nvSpPr>
        <p:spPr>
          <a:xfrm>
            <a:off x="774586" y="3923082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Android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F361106-9B7F-4837-BD25-46EA2B9777A1}"/>
              </a:ext>
            </a:extLst>
          </p:cNvPr>
          <p:cNvSpPr/>
          <p:nvPr/>
        </p:nvSpPr>
        <p:spPr>
          <a:xfrm>
            <a:off x="1998639" y="3157855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Facebook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D4E0360-FAE5-4EB2-9377-09E105BABC30}"/>
              </a:ext>
            </a:extLst>
          </p:cNvPr>
          <p:cNvSpPr/>
          <p:nvPr/>
        </p:nvSpPr>
        <p:spPr>
          <a:xfrm>
            <a:off x="1998639" y="3536650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WhatsApp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ABDE730-4BCB-4041-B9D2-6C1D2E8EB8AE}"/>
              </a:ext>
            </a:extLst>
          </p:cNvPr>
          <p:cNvSpPr/>
          <p:nvPr/>
        </p:nvSpPr>
        <p:spPr>
          <a:xfrm>
            <a:off x="774586" y="5050374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Call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36BC3F5-A962-42B9-81FF-30BEE77AC6EF}"/>
              </a:ext>
            </a:extLst>
          </p:cNvPr>
          <p:cNvSpPr/>
          <p:nvPr/>
        </p:nvSpPr>
        <p:spPr>
          <a:xfrm>
            <a:off x="1998639" y="3915445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Skyp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872986F-A309-449B-9B8F-3AA5F773F7EA}"/>
              </a:ext>
            </a:extLst>
          </p:cNvPr>
          <p:cNvSpPr/>
          <p:nvPr/>
        </p:nvSpPr>
        <p:spPr>
          <a:xfrm>
            <a:off x="774586" y="4298846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 err="1"/>
              <a:t>PhoneGap</a:t>
            </a:r>
            <a:endParaRPr lang="en-MY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150B792-CE1A-4A6C-8526-2DBCF56D8061}"/>
              </a:ext>
            </a:extLst>
          </p:cNvPr>
          <p:cNvSpPr/>
          <p:nvPr/>
        </p:nvSpPr>
        <p:spPr>
          <a:xfrm>
            <a:off x="1998639" y="4673035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Vib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3A7985C-7E1B-4EBE-83CA-2EE04651FF5F}"/>
              </a:ext>
            </a:extLst>
          </p:cNvPr>
          <p:cNvSpPr/>
          <p:nvPr/>
        </p:nvSpPr>
        <p:spPr>
          <a:xfrm>
            <a:off x="1998639" y="5051830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Lin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EB0C67C-7002-45D4-BEFA-95865B8A476A}"/>
              </a:ext>
            </a:extLst>
          </p:cNvPr>
          <p:cNvSpPr/>
          <p:nvPr/>
        </p:nvSpPr>
        <p:spPr>
          <a:xfrm>
            <a:off x="1998639" y="5430627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Alex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C149E59-8BF0-410D-B20A-BDC8FE21BF41}"/>
              </a:ext>
            </a:extLst>
          </p:cNvPr>
          <p:cNvSpPr/>
          <p:nvPr/>
        </p:nvSpPr>
        <p:spPr>
          <a:xfrm>
            <a:off x="1998639" y="4294240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Twitter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2A8125A-79FE-4CCD-9757-4CFD20FB81D5}"/>
              </a:ext>
            </a:extLst>
          </p:cNvPr>
          <p:cNvSpPr/>
          <p:nvPr/>
        </p:nvSpPr>
        <p:spPr>
          <a:xfrm>
            <a:off x="774586" y="4674610"/>
            <a:ext cx="1080000" cy="2880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SMS</a:t>
            </a:r>
          </a:p>
        </p:txBody>
      </p:sp>
    </p:spTree>
    <p:extLst>
      <p:ext uri="{BB962C8B-B14F-4D97-AF65-F5344CB8AC3E}">
        <p14:creationId xmlns:p14="http://schemas.microsoft.com/office/powerpoint/2010/main" val="2648295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Details – 1. Flexible Infra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2261748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It is all cloud</a:t>
            </a:r>
          </a:p>
          <a:p>
            <a:pPr marL="742950" indent="-742950">
              <a:buAutoNum type="arabicPeriod"/>
            </a:pPr>
            <a:endParaRPr lang="en-MY" dirty="0"/>
          </a:p>
          <a:p>
            <a:pPr marL="742950" indent="-742950">
              <a:buAutoNum type="arabicPeriod"/>
            </a:pPr>
            <a:r>
              <a:rPr lang="en-MY" dirty="0"/>
              <a:t>No CAPEX</a:t>
            </a:r>
          </a:p>
          <a:p>
            <a:pPr marL="742950" indent="-742950">
              <a:buAutoNum type="arabicPeriod"/>
            </a:pPr>
            <a:r>
              <a:rPr lang="en-MY" dirty="0"/>
              <a:t>Pay for only what you use</a:t>
            </a:r>
          </a:p>
          <a:p>
            <a:pPr marL="742950" indent="-742950">
              <a:buAutoNum type="arabicPeriod"/>
            </a:pPr>
            <a:r>
              <a:rPr lang="en-MY" dirty="0"/>
              <a:t>Super Scalable</a:t>
            </a:r>
          </a:p>
          <a:p>
            <a:pPr marL="742950" indent="-742950">
              <a:buAutoNum type="arabicPeriod"/>
            </a:pPr>
            <a:endParaRPr lang="en-MY" dirty="0"/>
          </a:p>
          <a:p>
            <a:pPr marL="742950" indent="-742950">
              <a:buAutoNum type="arabicPeriod"/>
            </a:pP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01307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Details – 2. Local Suppor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2261748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We’re close by</a:t>
            </a:r>
          </a:p>
          <a:p>
            <a:pPr marL="742950" indent="-742950">
              <a:buAutoNum type="arabicPeriod"/>
            </a:pPr>
            <a:endParaRPr lang="en-MY" dirty="0"/>
          </a:p>
          <a:p>
            <a:pPr marL="742950" indent="-742950">
              <a:buAutoNum type="arabicPeriod"/>
            </a:pPr>
            <a:r>
              <a:rPr lang="en-MY" dirty="0"/>
              <a:t>Accenture Office in Gardens</a:t>
            </a:r>
          </a:p>
          <a:p>
            <a:pPr marL="742950" indent="-742950">
              <a:buAutoNum type="arabicPeriod"/>
            </a:pPr>
            <a:r>
              <a:rPr lang="en-MY" dirty="0"/>
              <a:t>Google office in KL </a:t>
            </a:r>
            <a:r>
              <a:rPr lang="en-MY" dirty="0" err="1"/>
              <a:t>Sentral</a:t>
            </a:r>
            <a:endParaRPr lang="en-MY" dirty="0"/>
          </a:p>
          <a:p>
            <a:pPr marL="742950" indent="-742950">
              <a:buAutoNum type="arabicPeriod"/>
            </a:pPr>
            <a:endParaRPr lang="en-MY" dirty="0"/>
          </a:p>
          <a:p>
            <a:pPr marL="742950" indent="-742950">
              <a:buAutoNum type="arabicPeriod"/>
            </a:pP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881259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379EA-FF28-4709-A575-814C20C1DC2E}"/>
              </a:ext>
            </a:extLst>
          </p:cNvPr>
          <p:cNvSpPr txBox="1">
            <a:spLocks/>
          </p:cNvSpPr>
          <p:nvPr/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Details – 3. Integration &amp; Suppor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F9B07-6098-4110-8AEB-4D98BF8D0426}"/>
              </a:ext>
            </a:extLst>
          </p:cNvPr>
          <p:cNvCxnSpPr/>
          <p:nvPr/>
        </p:nvCxnSpPr>
        <p:spPr>
          <a:xfrm>
            <a:off x="0" y="1313436"/>
            <a:ext cx="113553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232DA3A5-1EF0-4A09-B354-90379E4BB133}"/>
              </a:ext>
            </a:extLst>
          </p:cNvPr>
          <p:cNvSpPr txBox="1">
            <a:spLocks/>
          </p:cNvSpPr>
          <p:nvPr/>
        </p:nvSpPr>
        <p:spPr>
          <a:xfrm>
            <a:off x="839788" y="2261748"/>
            <a:ext cx="10515600" cy="1325563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MY" dirty="0"/>
              <a:t>Platform agnostic REST APIs on https</a:t>
            </a:r>
          </a:p>
          <a:p>
            <a:endParaRPr lang="en-MY" dirty="0"/>
          </a:p>
          <a:p>
            <a:r>
              <a:rPr lang="en-MY" dirty="0"/>
              <a:t>Wide range of integration 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3B41FEC-CA30-405D-93D9-490633AB668C}"/>
              </a:ext>
            </a:extLst>
          </p:cNvPr>
          <p:cNvSpPr/>
          <p:nvPr/>
        </p:nvSpPr>
        <p:spPr>
          <a:xfrm>
            <a:off x="646033" y="4415429"/>
            <a:ext cx="1537200" cy="9215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Web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3F8AFA-59D2-4816-9C94-F0BF71A7A660}"/>
              </a:ext>
            </a:extLst>
          </p:cNvPr>
          <p:cNvSpPr/>
          <p:nvPr/>
        </p:nvSpPr>
        <p:spPr>
          <a:xfrm>
            <a:off x="2215637" y="4415429"/>
            <a:ext cx="1537200" cy="9215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iO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91F6EF-D51E-47B6-BE13-B21ACF725CC0}"/>
              </a:ext>
            </a:extLst>
          </p:cNvPr>
          <p:cNvSpPr/>
          <p:nvPr/>
        </p:nvSpPr>
        <p:spPr>
          <a:xfrm>
            <a:off x="3785241" y="4415429"/>
            <a:ext cx="1537200" cy="9215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Androi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988D35D-8CF4-47AF-BFF2-6918328B0A8E}"/>
              </a:ext>
            </a:extLst>
          </p:cNvPr>
          <p:cNvSpPr/>
          <p:nvPr/>
        </p:nvSpPr>
        <p:spPr>
          <a:xfrm>
            <a:off x="647098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Faceboo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7AD100-1DB5-439B-A2FF-109FF0DFCF35}"/>
              </a:ext>
            </a:extLst>
          </p:cNvPr>
          <p:cNvSpPr/>
          <p:nvPr/>
        </p:nvSpPr>
        <p:spPr>
          <a:xfrm>
            <a:off x="2216489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WhatsAp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1BD6B4-26A8-45BE-95D2-E9B837A41EDE}"/>
              </a:ext>
            </a:extLst>
          </p:cNvPr>
          <p:cNvSpPr/>
          <p:nvPr/>
        </p:nvSpPr>
        <p:spPr>
          <a:xfrm>
            <a:off x="8494053" y="4415429"/>
            <a:ext cx="1537200" cy="9215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Cal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66C7FA6-0C39-42D5-9490-D9D0C7A7AB62}"/>
              </a:ext>
            </a:extLst>
          </p:cNvPr>
          <p:cNvSpPr/>
          <p:nvPr/>
        </p:nvSpPr>
        <p:spPr>
          <a:xfrm>
            <a:off x="3785880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Skyp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438F095-794C-4663-82D0-D2B949158376}"/>
              </a:ext>
            </a:extLst>
          </p:cNvPr>
          <p:cNvSpPr/>
          <p:nvPr/>
        </p:nvSpPr>
        <p:spPr>
          <a:xfrm>
            <a:off x="5354845" y="4415429"/>
            <a:ext cx="1537200" cy="9215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 err="1"/>
              <a:t>PhoneGap</a:t>
            </a:r>
            <a:endParaRPr lang="en-MY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9D42BC-BDA8-416B-B61E-82D50AB69A30}"/>
              </a:ext>
            </a:extLst>
          </p:cNvPr>
          <p:cNvSpPr/>
          <p:nvPr/>
        </p:nvSpPr>
        <p:spPr>
          <a:xfrm>
            <a:off x="5355271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Vib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8879A0C-28F3-4F8D-A324-A30D47B68953}"/>
              </a:ext>
            </a:extLst>
          </p:cNvPr>
          <p:cNvSpPr/>
          <p:nvPr/>
        </p:nvSpPr>
        <p:spPr>
          <a:xfrm>
            <a:off x="6924662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Lin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19822A8-4396-4BB0-A3EC-42090C44BE29}"/>
              </a:ext>
            </a:extLst>
          </p:cNvPr>
          <p:cNvSpPr/>
          <p:nvPr/>
        </p:nvSpPr>
        <p:spPr>
          <a:xfrm>
            <a:off x="10063446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Alex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B1246CB-06C5-45EB-AD91-7C4ECA7293EB}"/>
              </a:ext>
            </a:extLst>
          </p:cNvPr>
          <p:cNvSpPr/>
          <p:nvPr/>
        </p:nvSpPr>
        <p:spPr>
          <a:xfrm>
            <a:off x="8494053" y="5358093"/>
            <a:ext cx="1536135" cy="91987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Twitte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A9735C7-6EBB-4623-A4A1-C11211FF9A44}"/>
              </a:ext>
            </a:extLst>
          </p:cNvPr>
          <p:cNvSpPr/>
          <p:nvPr/>
        </p:nvSpPr>
        <p:spPr>
          <a:xfrm>
            <a:off x="6924449" y="4415429"/>
            <a:ext cx="1537200" cy="9215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MY" dirty="0"/>
              <a:t>SMS</a:t>
            </a:r>
          </a:p>
        </p:txBody>
      </p:sp>
    </p:spTree>
    <p:extLst>
      <p:ext uri="{BB962C8B-B14F-4D97-AF65-F5344CB8AC3E}">
        <p14:creationId xmlns:p14="http://schemas.microsoft.com/office/powerpoint/2010/main" val="3880021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6</TotalTime>
  <Words>386</Words>
  <Application>Microsoft Office PowerPoint</Application>
  <PresentationFormat>Widescreen</PresentationFormat>
  <Paragraphs>134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Cont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kd Ng</dc:creator>
  <cp:lastModifiedBy>Kokd Ng</cp:lastModifiedBy>
  <cp:revision>51</cp:revision>
  <dcterms:created xsi:type="dcterms:W3CDTF">2017-12-13T16:56:53Z</dcterms:created>
  <dcterms:modified xsi:type="dcterms:W3CDTF">2017-12-15T03:53:45Z</dcterms:modified>
</cp:coreProperties>
</file>